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09" r:id="rId2"/>
    <p:sldId id="673" r:id="rId3"/>
    <p:sldId id="674" r:id="rId4"/>
    <p:sldId id="675" r:id="rId5"/>
    <p:sldId id="676" r:id="rId6"/>
    <p:sldId id="677" r:id="rId7"/>
    <p:sldId id="680" r:id="rId8"/>
    <p:sldId id="681" r:id="rId9"/>
    <p:sldId id="682" r:id="rId10"/>
    <p:sldId id="684" r:id="rId11"/>
    <p:sldId id="686" r:id="rId12"/>
    <p:sldId id="687" r:id="rId13"/>
    <p:sldId id="672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04" userDrawn="1">
          <p15:clr>
            <a:srgbClr val="A4A3A4"/>
          </p15:clr>
        </p15:guide>
        <p15:guide id="2" orient="horz" pos="682" userDrawn="1">
          <p15:clr>
            <a:srgbClr val="A4A3A4"/>
          </p15:clr>
        </p15:guide>
        <p15:guide id="3" orient="horz" pos="3888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3992" userDrawn="1">
          <p15:clr>
            <a:srgbClr val="A4A3A4"/>
          </p15:clr>
        </p15:guide>
        <p15:guide id="6" pos="3701" userDrawn="1">
          <p15:clr>
            <a:srgbClr val="A4A3A4"/>
          </p15:clr>
        </p15:guide>
        <p15:guide id="7" pos="7398" userDrawn="1">
          <p15:clr>
            <a:srgbClr val="A4A3A4"/>
          </p15:clr>
        </p15:guide>
        <p15:guide id="8" pos="2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en Tation" initials="PT" lastIdx="1" clrIdx="0">
    <p:extLst>
      <p:ext uri="{19B8F6BF-5375-455C-9EA6-DF929625EA0E}">
        <p15:presenceInfo xmlns:p15="http://schemas.microsoft.com/office/powerpoint/2012/main" userId="250eb12156f113a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82E"/>
    <a:srgbClr val="B7B7B6"/>
    <a:srgbClr val="F2F2F2"/>
    <a:srgbClr val="FFFFFF"/>
    <a:srgbClr val="939391"/>
    <a:srgbClr val="ED7817"/>
    <a:srgbClr val="916303"/>
    <a:srgbClr val="B55A0E"/>
    <a:srgbClr val="F8A906"/>
    <a:srgbClr val="FCD48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6462" autoAdjust="0"/>
  </p:normalViewPr>
  <p:slideViewPr>
    <p:cSldViewPr snapToGrid="0" showGuides="1">
      <p:cViewPr varScale="1">
        <p:scale>
          <a:sx n="81" d="100"/>
          <a:sy n="81" d="100"/>
        </p:scale>
        <p:origin x="96" y="714"/>
      </p:cViewPr>
      <p:guideLst>
        <p:guide orient="horz" pos="2304"/>
        <p:guide orient="horz" pos="682"/>
        <p:guide orient="horz" pos="3888"/>
        <p:guide pos="3840"/>
        <p:guide pos="3992"/>
        <p:guide pos="3701"/>
        <p:guide pos="7398"/>
        <p:guide pos="278"/>
      </p:guideLst>
    </p:cSldViewPr>
  </p:slideViewPr>
  <p:outlineViewPr>
    <p:cViewPr>
      <p:scale>
        <a:sx n="33" d="100"/>
        <a:sy n="33" d="100"/>
      </p:scale>
      <p:origin x="0" y="-75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EBC57C0-EA97-4D37-B645-A75E08A9BE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4DD63-5183-43F8-9734-EE72F8C292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8CFEDB-406D-4CE9-BDF2-12514B33EC6D}" type="datetimeFigureOut">
              <a:rPr lang="en-US" smtClean="0"/>
              <a:t>2/2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197843-8301-46B4-9D37-AE590B3D848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9BD0B-8084-40F5-90FE-11200E5D0F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C1379-B67B-47A8-B8CA-B9C02C0EE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1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C1F4D-0ADD-4CDA-B0E9-DB8976C6B34F}" type="datetimeFigureOut">
              <a:rPr lang="ru-RU" smtClean="0"/>
              <a:t>27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24990-9F86-48AB-BDDF-592782F380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51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4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959E9-44AC-47C3-9797-033FD3DCFC5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27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718593BB-B89D-4230-AEB5-D90F9225FF53}"/>
              </a:ext>
            </a:extLst>
          </p:cNvPr>
          <p:cNvSpPr/>
          <p:nvPr userDrawn="1"/>
        </p:nvSpPr>
        <p:spPr>
          <a:xfrm>
            <a:off x="10970420" y="0"/>
            <a:ext cx="1221580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820AE5-62B1-414B-80FE-2AFD0A76C0A0}"/>
              </a:ext>
            </a:extLst>
          </p:cNvPr>
          <p:cNvSpPr/>
          <p:nvPr userDrawn="1"/>
        </p:nvSpPr>
        <p:spPr>
          <a:xfrm flipH="1" flipV="1">
            <a:off x="2286000" y="5257800"/>
            <a:ext cx="8684420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EB3A75-459B-4A6D-8FEE-8BAE16CC45CE}"/>
              </a:ext>
            </a:extLst>
          </p:cNvPr>
          <p:cNvSpPr/>
          <p:nvPr userDrawn="1"/>
        </p:nvSpPr>
        <p:spPr>
          <a:xfrm flipH="1" flipV="1">
            <a:off x="0" y="6411912"/>
            <a:ext cx="22860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70BD5F6-FBB2-4E64-96B6-CC53E9020F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4AE5BAB-FF7E-4F6A-963E-D44BBCFFD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8" y="1493235"/>
            <a:ext cx="74980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9ECD82C-4554-4B8B-B82A-B2AFC758FA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7" y="3122141"/>
            <a:ext cx="74980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8962044-D28C-4D5A-840F-73678A7C2E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03F1DF3-E5F0-4118-8A49-D131D529FE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" name="Graphic 21">
            <a:extLst>
              <a:ext uri="{FF2B5EF4-FFF2-40B4-BE49-F238E27FC236}">
                <a16:creationId xmlns:a16="http://schemas.microsoft.com/office/drawing/2014/main" id="{BF38D99C-D8D9-4636-9725-0067B8EA8012}"/>
              </a:ext>
            </a:extLst>
          </p:cNvPr>
          <p:cNvGrpSpPr/>
          <p:nvPr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91222E65-061F-4F36-96E6-E725F30A5ABE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F21B9883-8B29-474B-973B-CEF34FC4B7FA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" name="Graphic 20">
            <a:extLst>
              <a:ext uri="{FF2B5EF4-FFF2-40B4-BE49-F238E27FC236}">
                <a16:creationId xmlns:a16="http://schemas.microsoft.com/office/drawing/2014/main" id="{D5FF9A8D-CBB9-4337-9B0B-5C38A1DD18F7}"/>
              </a:ext>
            </a:extLst>
          </p:cNvPr>
          <p:cNvGrpSpPr/>
          <p:nvPr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C15089B7-787D-4D9F-BAA8-F979C8F4076A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7CB77518-9E31-4425-9163-941F4558862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F4C0C792-C07E-4188-A5CE-FD3391A7527D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589EAB00-F6EC-4A57-8B80-D786B7E68DCB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93FA371A-FDCB-4DF7-82EB-E09EF66A50E3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3742E1AA-9B46-4DEC-8F2E-F7AB4133DF2B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11297B00-0E2C-4169-83C7-DA7AFA0EF836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2903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Title (Сonstru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uilding, dome, umbrella, open&#10;&#10;Description automatically generated">
            <a:extLst>
              <a:ext uri="{FF2B5EF4-FFF2-40B4-BE49-F238E27FC236}">
                <a16:creationId xmlns:a16="http://schemas.microsoft.com/office/drawing/2014/main" id="{D4649F08-BC43-4704-B7C0-7DEFFE0C85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66"/>
            <a:ext cx="12192000" cy="6853469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39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16680" y="2302735"/>
            <a:ext cx="5907024" cy="1418850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16680" y="3947543"/>
            <a:ext cx="590702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10070937" y="6669087"/>
            <a:ext cx="2120864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87"/>
            <a:ext cx="6231368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6231365" y="6669087"/>
            <a:ext cx="3839577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D4692AA3-5E95-4A27-AFA9-E67B08BB17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D2FE1F4-758C-4FE6-9846-863A787B45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4507138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9E90566-687C-48CE-A67C-7FA574673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851074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2" name="Graphic 21">
            <a:extLst>
              <a:ext uri="{FF2B5EF4-FFF2-40B4-BE49-F238E27FC236}">
                <a16:creationId xmlns:a16="http://schemas.microsoft.com/office/drawing/2014/main" id="{E139F7BB-5871-450E-B59E-0449D054F658}"/>
              </a:ext>
            </a:extLst>
          </p:cNvPr>
          <p:cNvGrpSpPr/>
          <p:nvPr userDrawn="1"/>
        </p:nvGrpSpPr>
        <p:grpSpPr>
          <a:xfrm>
            <a:off x="433348" y="4494978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0">
              <a:extLst>
                <a:ext uri="{FF2B5EF4-FFF2-40B4-BE49-F238E27FC236}">
                  <a16:creationId xmlns:a16="http://schemas.microsoft.com/office/drawing/2014/main" id="{AF245F4E-ACEB-4DCC-B586-84A45B7C2E9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2">
              <a:extLst>
                <a:ext uri="{FF2B5EF4-FFF2-40B4-BE49-F238E27FC236}">
                  <a16:creationId xmlns:a16="http://schemas.microsoft.com/office/drawing/2014/main" id="{0FD3C330-08FC-4F42-8D72-C2D66EF09DD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" name="Graphic 20">
            <a:extLst>
              <a:ext uri="{FF2B5EF4-FFF2-40B4-BE49-F238E27FC236}">
                <a16:creationId xmlns:a16="http://schemas.microsoft.com/office/drawing/2014/main" id="{5B435D59-F557-4A20-8387-543E6AD6F389}"/>
              </a:ext>
            </a:extLst>
          </p:cNvPr>
          <p:cNvGrpSpPr/>
          <p:nvPr userDrawn="1"/>
        </p:nvGrpSpPr>
        <p:grpSpPr>
          <a:xfrm>
            <a:off x="416680" y="4829504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4" name="Полилиния: фигура 26">
              <a:extLst>
                <a:ext uri="{FF2B5EF4-FFF2-40B4-BE49-F238E27FC236}">
                  <a16:creationId xmlns:a16="http://schemas.microsoft.com/office/drawing/2014/main" id="{F6A67E73-F484-47BF-9A97-D8C7190033D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7">
              <a:extLst>
                <a:ext uri="{FF2B5EF4-FFF2-40B4-BE49-F238E27FC236}">
                  <a16:creationId xmlns:a16="http://schemas.microsoft.com/office/drawing/2014/main" id="{D1F9E108-1368-4D85-8FB9-DFA9A433E4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8">
              <a:extLst>
                <a:ext uri="{FF2B5EF4-FFF2-40B4-BE49-F238E27FC236}">
                  <a16:creationId xmlns:a16="http://schemas.microsoft.com/office/drawing/2014/main" id="{B4FE7681-D0F9-49B5-8A87-A37E54A9B4C3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29">
              <a:extLst>
                <a:ext uri="{FF2B5EF4-FFF2-40B4-BE49-F238E27FC236}">
                  <a16:creationId xmlns:a16="http://schemas.microsoft.com/office/drawing/2014/main" id="{01BDEA07-EC72-43BC-910E-BFD7BC1BD2E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0">
              <a:extLst>
                <a:ext uri="{FF2B5EF4-FFF2-40B4-BE49-F238E27FC236}">
                  <a16:creationId xmlns:a16="http://schemas.microsoft.com/office/drawing/2014/main" id="{2C87C3EA-33AC-4802-AEDC-DDB45DC189B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1">
              <a:extLst>
                <a:ext uri="{FF2B5EF4-FFF2-40B4-BE49-F238E27FC236}">
                  <a16:creationId xmlns:a16="http://schemas.microsoft.com/office/drawing/2014/main" id="{B7561C1E-9784-4006-88EA-8AB45AF5A9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2">
              <a:extLst>
                <a:ext uri="{FF2B5EF4-FFF2-40B4-BE49-F238E27FC236}">
                  <a16:creationId xmlns:a16="http://schemas.microsoft.com/office/drawing/2014/main" id="{362C1810-AD72-46F4-A875-B17F78B864D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93425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_Title (Сonstruc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cage&#10;&#10;Description automatically generated">
            <a:extLst>
              <a:ext uri="{FF2B5EF4-FFF2-40B4-BE49-F238E27FC236}">
                <a16:creationId xmlns:a16="http://schemas.microsoft.com/office/drawing/2014/main" id="{4D1701DE-8B90-474D-B304-3A6B4743CF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65"/>
            <a:ext cx="12192000" cy="6853469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9565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16680" y="2302735"/>
            <a:ext cx="5907024" cy="1418850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16680" y="3947543"/>
            <a:ext cx="590702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10070937" y="6669087"/>
            <a:ext cx="2120864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87"/>
            <a:ext cx="6231368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6231365" y="6669087"/>
            <a:ext cx="3839577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D4692AA3-5E95-4A27-AFA9-E67B08BB17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D2FE1F4-758C-4FE6-9846-863A787B45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4507140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9E90566-687C-48CE-A67C-7FA574673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851076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2" name="Graphic 21">
            <a:extLst>
              <a:ext uri="{FF2B5EF4-FFF2-40B4-BE49-F238E27FC236}">
                <a16:creationId xmlns:a16="http://schemas.microsoft.com/office/drawing/2014/main" id="{E139F7BB-5871-450E-B59E-0449D054F658}"/>
              </a:ext>
            </a:extLst>
          </p:cNvPr>
          <p:cNvGrpSpPr/>
          <p:nvPr userDrawn="1"/>
        </p:nvGrpSpPr>
        <p:grpSpPr>
          <a:xfrm>
            <a:off x="433348" y="4494980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0">
              <a:extLst>
                <a:ext uri="{FF2B5EF4-FFF2-40B4-BE49-F238E27FC236}">
                  <a16:creationId xmlns:a16="http://schemas.microsoft.com/office/drawing/2014/main" id="{AF245F4E-ACEB-4DCC-B586-84A45B7C2E9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2">
              <a:extLst>
                <a:ext uri="{FF2B5EF4-FFF2-40B4-BE49-F238E27FC236}">
                  <a16:creationId xmlns:a16="http://schemas.microsoft.com/office/drawing/2014/main" id="{0FD3C330-08FC-4F42-8D72-C2D66EF09DD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" name="Graphic 20">
            <a:extLst>
              <a:ext uri="{FF2B5EF4-FFF2-40B4-BE49-F238E27FC236}">
                <a16:creationId xmlns:a16="http://schemas.microsoft.com/office/drawing/2014/main" id="{5B435D59-F557-4A20-8387-543E6AD6F389}"/>
              </a:ext>
            </a:extLst>
          </p:cNvPr>
          <p:cNvGrpSpPr/>
          <p:nvPr userDrawn="1"/>
        </p:nvGrpSpPr>
        <p:grpSpPr>
          <a:xfrm>
            <a:off x="416680" y="4829506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4" name="Полилиния: фигура 26">
              <a:extLst>
                <a:ext uri="{FF2B5EF4-FFF2-40B4-BE49-F238E27FC236}">
                  <a16:creationId xmlns:a16="http://schemas.microsoft.com/office/drawing/2014/main" id="{F6A67E73-F484-47BF-9A97-D8C7190033D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7">
              <a:extLst>
                <a:ext uri="{FF2B5EF4-FFF2-40B4-BE49-F238E27FC236}">
                  <a16:creationId xmlns:a16="http://schemas.microsoft.com/office/drawing/2014/main" id="{D1F9E108-1368-4D85-8FB9-DFA9A433E4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8">
              <a:extLst>
                <a:ext uri="{FF2B5EF4-FFF2-40B4-BE49-F238E27FC236}">
                  <a16:creationId xmlns:a16="http://schemas.microsoft.com/office/drawing/2014/main" id="{B4FE7681-D0F9-49B5-8A87-A37E54A9B4C3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29">
              <a:extLst>
                <a:ext uri="{FF2B5EF4-FFF2-40B4-BE49-F238E27FC236}">
                  <a16:creationId xmlns:a16="http://schemas.microsoft.com/office/drawing/2014/main" id="{01BDEA07-EC72-43BC-910E-BFD7BC1BD2E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0">
              <a:extLst>
                <a:ext uri="{FF2B5EF4-FFF2-40B4-BE49-F238E27FC236}">
                  <a16:creationId xmlns:a16="http://schemas.microsoft.com/office/drawing/2014/main" id="{2C87C3EA-33AC-4802-AEDC-DDB45DC189B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1">
              <a:extLst>
                <a:ext uri="{FF2B5EF4-FFF2-40B4-BE49-F238E27FC236}">
                  <a16:creationId xmlns:a16="http://schemas.microsoft.com/office/drawing/2014/main" id="{B7561C1E-9784-4006-88EA-8AB45AF5A9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2">
              <a:extLst>
                <a:ext uri="{FF2B5EF4-FFF2-40B4-BE49-F238E27FC236}">
                  <a16:creationId xmlns:a16="http://schemas.microsoft.com/office/drawing/2014/main" id="{362C1810-AD72-46F4-A875-B17F78B864D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97633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_Title (Enterpri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view of a city at sunset&#10;&#10;Description automatically generated">
            <a:extLst>
              <a:ext uri="{FF2B5EF4-FFF2-40B4-BE49-F238E27FC236}">
                <a16:creationId xmlns:a16="http://schemas.microsoft.com/office/drawing/2014/main" id="{43E00A51-53D5-4D63-8EA7-77FB24DB2A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65"/>
            <a:ext cx="12192000" cy="6853469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095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16680" y="2302735"/>
            <a:ext cx="5907024" cy="1418850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16680" y="3947543"/>
            <a:ext cx="590702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10070937" y="6669087"/>
            <a:ext cx="2120864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87"/>
            <a:ext cx="6231368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6231365" y="6669087"/>
            <a:ext cx="3839577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D4692AA3-5E95-4A27-AFA9-E67B08BB17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D2FE1F4-758C-4FE6-9846-863A787B45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4507140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9E90566-687C-48CE-A67C-7FA574673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851076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2" name="Graphic 21">
            <a:extLst>
              <a:ext uri="{FF2B5EF4-FFF2-40B4-BE49-F238E27FC236}">
                <a16:creationId xmlns:a16="http://schemas.microsoft.com/office/drawing/2014/main" id="{E139F7BB-5871-450E-B59E-0449D054F658}"/>
              </a:ext>
            </a:extLst>
          </p:cNvPr>
          <p:cNvGrpSpPr/>
          <p:nvPr userDrawn="1"/>
        </p:nvGrpSpPr>
        <p:grpSpPr>
          <a:xfrm>
            <a:off x="433348" y="4494980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0">
              <a:extLst>
                <a:ext uri="{FF2B5EF4-FFF2-40B4-BE49-F238E27FC236}">
                  <a16:creationId xmlns:a16="http://schemas.microsoft.com/office/drawing/2014/main" id="{AF245F4E-ACEB-4DCC-B586-84A45B7C2E9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2">
              <a:extLst>
                <a:ext uri="{FF2B5EF4-FFF2-40B4-BE49-F238E27FC236}">
                  <a16:creationId xmlns:a16="http://schemas.microsoft.com/office/drawing/2014/main" id="{0FD3C330-08FC-4F42-8D72-C2D66EF09DD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" name="Graphic 20">
            <a:extLst>
              <a:ext uri="{FF2B5EF4-FFF2-40B4-BE49-F238E27FC236}">
                <a16:creationId xmlns:a16="http://schemas.microsoft.com/office/drawing/2014/main" id="{5B435D59-F557-4A20-8387-543E6AD6F389}"/>
              </a:ext>
            </a:extLst>
          </p:cNvPr>
          <p:cNvGrpSpPr/>
          <p:nvPr userDrawn="1"/>
        </p:nvGrpSpPr>
        <p:grpSpPr>
          <a:xfrm>
            <a:off x="416680" y="4829506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4" name="Полилиния: фигура 26">
              <a:extLst>
                <a:ext uri="{FF2B5EF4-FFF2-40B4-BE49-F238E27FC236}">
                  <a16:creationId xmlns:a16="http://schemas.microsoft.com/office/drawing/2014/main" id="{F6A67E73-F484-47BF-9A97-D8C7190033D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7">
              <a:extLst>
                <a:ext uri="{FF2B5EF4-FFF2-40B4-BE49-F238E27FC236}">
                  <a16:creationId xmlns:a16="http://schemas.microsoft.com/office/drawing/2014/main" id="{D1F9E108-1368-4D85-8FB9-DFA9A433E4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8">
              <a:extLst>
                <a:ext uri="{FF2B5EF4-FFF2-40B4-BE49-F238E27FC236}">
                  <a16:creationId xmlns:a16="http://schemas.microsoft.com/office/drawing/2014/main" id="{B4FE7681-D0F9-49B5-8A87-A37E54A9B4C3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29">
              <a:extLst>
                <a:ext uri="{FF2B5EF4-FFF2-40B4-BE49-F238E27FC236}">
                  <a16:creationId xmlns:a16="http://schemas.microsoft.com/office/drawing/2014/main" id="{01BDEA07-EC72-43BC-910E-BFD7BC1BD2E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0">
              <a:extLst>
                <a:ext uri="{FF2B5EF4-FFF2-40B4-BE49-F238E27FC236}">
                  <a16:creationId xmlns:a16="http://schemas.microsoft.com/office/drawing/2014/main" id="{2C87C3EA-33AC-4802-AEDC-DDB45DC189B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1">
              <a:extLst>
                <a:ext uri="{FF2B5EF4-FFF2-40B4-BE49-F238E27FC236}">
                  <a16:creationId xmlns:a16="http://schemas.microsoft.com/office/drawing/2014/main" id="{B7561C1E-9784-4006-88EA-8AB45AF5A9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2">
              <a:extLst>
                <a:ext uri="{FF2B5EF4-FFF2-40B4-BE49-F238E27FC236}">
                  <a16:creationId xmlns:a16="http://schemas.microsoft.com/office/drawing/2014/main" id="{362C1810-AD72-46F4-A875-B17F78B864D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24703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1AE50D2-FF8C-4564-84BC-009C11E07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74" y="6423496"/>
            <a:ext cx="10852785" cy="230832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10950" y="6461968"/>
            <a:ext cx="333376" cy="153888"/>
          </a:xfrm>
        </p:spPr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3A1D29-3597-46A5-A105-1B500B27386E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82D8C5-7491-4ED3-ACF4-71B835A64670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19D635FA-CDC3-453A-9428-B1BD048DA5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1754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11D9AC-D4CB-4F06-95E2-EF5628545F55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83F293-4728-425D-9BAA-76E426B790BB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2841C2-FE17-447B-8022-B906B8A16F38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5D6289F-D3D1-41CC-A909-509989C9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4037E0-1805-4ADB-AE80-4A72F5EF5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01677D-E0FF-471E-AE99-65B26B898A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9604F5-CDEE-4E2F-BD54-57A25EB3470E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9784E4-B1DD-420A-9A97-5462F8E97D9F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>
            <a:extLst>
              <a:ext uri="{FF2B5EF4-FFF2-40B4-BE49-F238E27FC236}">
                <a16:creationId xmlns:a16="http://schemas.microsoft.com/office/drawing/2014/main" id="{034CF182-2210-473F-B255-4395965E9D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5076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065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1AE50D2-FF8C-4564-84BC-009C11E07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674" y="6423496"/>
            <a:ext cx="10852785" cy="230832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10950" y="6461968"/>
            <a:ext cx="333376" cy="153888"/>
          </a:xfrm>
        </p:spPr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3A1D29-3597-46A5-A105-1B500B27386E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19D635FA-CDC3-453A-9428-B1BD048DA5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714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9" y="6060358"/>
            <a:ext cx="11284506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6" y="2744788"/>
            <a:ext cx="11287124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447676" y="3068487"/>
            <a:ext cx="1129451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6AF5F8FD-0688-4C6A-9C09-1FBC538E30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4FF17BC9-6DC5-4B19-8531-C3E9094FC6A6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446239" y="3142680"/>
            <a:ext cx="11296651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5">
            <a:extLst>
              <a:ext uri="{FF2B5EF4-FFF2-40B4-BE49-F238E27FC236}">
                <a16:creationId xmlns:a16="http://schemas.microsoft.com/office/drawing/2014/main" id="{51A04C5B-E27E-4438-9BAD-CEB2BC4777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81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Text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9" y="6060358"/>
            <a:ext cx="11284506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6" y="2744788"/>
            <a:ext cx="11287124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447676" y="3068487"/>
            <a:ext cx="1129451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7">
            <a:extLst>
              <a:ext uri="{FF2B5EF4-FFF2-40B4-BE49-F238E27FC236}">
                <a16:creationId xmlns:a16="http://schemas.microsoft.com/office/drawing/2014/main" id="{D3D5B639-F382-420E-8262-36EC0A6950D4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670ADD-ECB9-4E98-9BE3-2727D4431503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24">
            <a:extLst>
              <a:ext uri="{FF2B5EF4-FFF2-40B4-BE49-F238E27FC236}">
                <a16:creationId xmlns:a16="http://schemas.microsoft.com/office/drawing/2014/main" id="{5C888821-A027-41DC-A899-102DDC535582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Graphic 12">
            <a:extLst>
              <a:ext uri="{FF2B5EF4-FFF2-40B4-BE49-F238E27FC236}">
                <a16:creationId xmlns:a16="http://schemas.microsoft.com/office/drawing/2014/main" id="{5692CD0B-78EB-4AAF-BDC5-8651CC7047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2E233953-7918-4CDE-AC38-B07E1FCF102E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446239" y="3142680"/>
            <a:ext cx="11296651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6F0DC35B-87BF-4EDE-BD6B-D8671977A2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416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1AE50D2-FF8C-4564-84BC-009C11E07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71544" y="541265"/>
            <a:ext cx="1263256" cy="19650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516500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24600" y="1844676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7674" y="5165008"/>
            <a:ext cx="54197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5" y="1844676"/>
            <a:ext cx="5419726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447675" y="2173137"/>
            <a:ext cx="541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6327895" y="2173137"/>
            <a:ext cx="5394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A4171FC7-AA7E-4546-8346-7014B013C441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7675" y="2241550"/>
            <a:ext cx="5419725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29C37C28-18DE-4F46-8001-C3D8FE6F593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6324600" y="2241550"/>
            <a:ext cx="5410200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9265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A02B66EB-81E8-4AA8-9EAA-F2AACF99A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19" name="Rectangle 7">
            <a:extLst>
              <a:ext uri="{FF2B5EF4-FFF2-40B4-BE49-F238E27FC236}">
                <a16:creationId xmlns:a16="http://schemas.microsoft.com/office/drawing/2014/main" id="{21D1EDE2-6C8E-4A04-8DB2-EC5FC45DC4E6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AB6F2C50-C609-4F8A-A127-42F0DD5527CD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0C7E0737-0B22-4606-9BE0-BADF7E78FC16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7A4DFD62-3D6B-46AB-B145-02B77504B18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516500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557D97D4-F567-4C3F-86E5-E8B0FB75576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24600" y="1844676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00B777D8-8510-42EA-8E9B-C003E276FDA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7674" y="5165008"/>
            <a:ext cx="54197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1" name="Текст 7">
            <a:extLst>
              <a:ext uri="{FF2B5EF4-FFF2-40B4-BE49-F238E27FC236}">
                <a16:creationId xmlns:a16="http://schemas.microsoft.com/office/drawing/2014/main" id="{FD6D491F-0FBB-4039-AA86-3FB7C3453AD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5" y="1844676"/>
            <a:ext cx="5419726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B0574227-1888-4218-A742-4C31E9A0374C}"/>
              </a:ext>
            </a:extLst>
          </p:cNvPr>
          <p:cNvCxnSpPr>
            <a:cxnSpLocks/>
          </p:cNvCxnSpPr>
          <p:nvPr userDrawn="1"/>
        </p:nvCxnSpPr>
        <p:spPr>
          <a:xfrm>
            <a:off x="447675" y="2173137"/>
            <a:ext cx="541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2BEED43E-7472-4624-8EA8-8A4A09531FBF}"/>
              </a:ext>
            </a:extLst>
          </p:cNvPr>
          <p:cNvCxnSpPr>
            <a:cxnSpLocks/>
          </p:cNvCxnSpPr>
          <p:nvPr userDrawn="1"/>
        </p:nvCxnSpPr>
        <p:spPr>
          <a:xfrm>
            <a:off x="6327895" y="2173137"/>
            <a:ext cx="5394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9">
            <a:extLst>
              <a:ext uri="{FF2B5EF4-FFF2-40B4-BE49-F238E27FC236}">
                <a16:creationId xmlns:a16="http://schemas.microsoft.com/office/drawing/2014/main" id="{94D5B5DB-B318-4CAA-A709-E1C1574A8C27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7675" y="2241550"/>
            <a:ext cx="5419725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5" name="Content Placeholder 9">
            <a:extLst>
              <a:ext uri="{FF2B5EF4-FFF2-40B4-BE49-F238E27FC236}">
                <a16:creationId xmlns:a16="http://schemas.microsoft.com/office/drawing/2014/main" id="{2CC8D7D1-C563-45E4-A594-7C6932F2EA85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6324600" y="2241550"/>
            <a:ext cx="5410200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8420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Title (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950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F12B2117-D769-4F6D-B49C-1A8F9F2ED53F}"/>
              </a:ext>
            </a:extLst>
          </p:cNvPr>
          <p:cNvSpPr/>
          <p:nvPr userDrawn="1"/>
        </p:nvSpPr>
        <p:spPr>
          <a:xfrm>
            <a:off x="10970420" y="0"/>
            <a:ext cx="1221580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00A39C-E6E6-4160-8393-6FAC9E5808D9}"/>
              </a:ext>
            </a:extLst>
          </p:cNvPr>
          <p:cNvSpPr/>
          <p:nvPr userDrawn="1"/>
        </p:nvSpPr>
        <p:spPr>
          <a:xfrm flipH="1" flipV="1">
            <a:off x="2286000" y="5257800"/>
            <a:ext cx="8684420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60A9704-48A9-44F8-B5C9-94AA2476859D}"/>
              </a:ext>
            </a:extLst>
          </p:cNvPr>
          <p:cNvSpPr/>
          <p:nvPr userDrawn="1"/>
        </p:nvSpPr>
        <p:spPr>
          <a:xfrm flipH="1" flipV="1">
            <a:off x="0" y="6411912"/>
            <a:ext cx="22860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17" name="Picture 16" descr="A person wearing a baseball hat&#10;&#10;Description automatically generated">
            <a:extLst>
              <a:ext uri="{FF2B5EF4-FFF2-40B4-BE49-F238E27FC236}">
                <a16:creationId xmlns:a16="http://schemas.microsoft.com/office/drawing/2014/main" id="{3F5B5603-1500-42E4-94BB-869C2A54E6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2" t="464" r="1840" b="1"/>
          <a:stretch/>
        </p:blipFill>
        <p:spPr>
          <a:xfrm>
            <a:off x="5733621" y="1534510"/>
            <a:ext cx="5234152" cy="4866290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8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7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15670967-5004-44C1-A848-7D7CCE11D84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DE04AFC-B550-40EF-BE9B-FEFA6BFC16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DE235C4-B02D-4A2A-B717-668C097ADCB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3" name="Graphic 21">
            <a:extLst>
              <a:ext uri="{FF2B5EF4-FFF2-40B4-BE49-F238E27FC236}">
                <a16:creationId xmlns:a16="http://schemas.microsoft.com/office/drawing/2014/main" id="{61561FA8-8D06-4CBC-AEE1-7201B58A357F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669F030B-3F7E-49FB-91B5-379D595965A8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4AB39E84-F5AF-465A-9087-FD99CDDD1B18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Graphic 20">
            <a:extLst>
              <a:ext uri="{FF2B5EF4-FFF2-40B4-BE49-F238E27FC236}">
                <a16:creationId xmlns:a16="http://schemas.microsoft.com/office/drawing/2014/main" id="{09FCAA66-D289-4AAE-85CE-6670CCF45815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53A6CC2D-1EF2-435A-B8A5-15ADF150C4B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AB398515-0D82-43F5-AE9D-92EBFAFA804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2BD6E1E4-CFB8-4319-B504-777A0FCE2B6D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4D02D886-84F3-44F8-A699-74B2FAB04FC5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0AA2FBE6-EF09-4E1A-A772-901FE09C4F2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29806475-BB44-4717-A364-D0E2177EC9C7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407609AF-9780-451B-9D5E-39B3998BA186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12375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pic>
        <p:nvPicPr>
          <p:cNvPr id="5" name="Graphic 12">
            <a:extLst>
              <a:ext uri="{FF2B5EF4-FFF2-40B4-BE49-F238E27FC236}">
                <a16:creationId xmlns:a16="http://schemas.microsoft.com/office/drawing/2014/main" id="{867F5487-0F10-4800-B163-2DC0A82F2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9E81A316-F891-4961-8AEE-5A1DBF59DB87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EB93783D-9942-45AC-8E18-C0B383C992A1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A10AE28B-11A8-4A84-81CC-10B081BA2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13596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Graphic 12">
            <a:extLst>
              <a:ext uri="{FF2B5EF4-FFF2-40B4-BE49-F238E27FC236}">
                <a16:creationId xmlns:a16="http://schemas.microsoft.com/office/drawing/2014/main" id="{4C995F83-AC2B-4F06-A075-D43DD010D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1" name="Rectangle 7">
            <a:extLst>
              <a:ext uri="{FF2B5EF4-FFF2-40B4-BE49-F238E27FC236}">
                <a16:creationId xmlns:a16="http://schemas.microsoft.com/office/drawing/2014/main" id="{3B36852D-4003-438D-8C8B-1A173D3D11FA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5214C33E-BB31-4C61-BE42-FD08BEFBEA17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0D4254B9-8D9B-4B89-AAF5-37CCAF6399DD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0" name="Straight Connector 15">
            <a:extLst>
              <a:ext uri="{FF2B5EF4-FFF2-40B4-BE49-F238E27FC236}">
                <a16:creationId xmlns:a16="http://schemas.microsoft.com/office/drawing/2014/main" id="{7830E3E5-637B-4A47-B4A9-29BA85031E0A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4EF81F72-3175-477A-A2A4-FCA343EE326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5B391A0-0E27-4F31-A606-0ABC20CE300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5BF70471-D533-4B59-ABF5-55E13DCEF8C0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7">
            <a:extLst>
              <a:ext uri="{FF2B5EF4-FFF2-40B4-BE49-F238E27FC236}">
                <a16:creationId xmlns:a16="http://schemas.microsoft.com/office/drawing/2014/main" id="{F222510E-36EE-48A7-9449-4B34CBF6194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3" name="Прямая соединительная линия 29">
            <a:extLst>
              <a:ext uri="{FF2B5EF4-FFF2-40B4-BE49-F238E27FC236}">
                <a16:creationId xmlns:a16="http://schemas.microsoft.com/office/drawing/2014/main" id="{9E2612E3-45BA-4060-80C8-B311D0366048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81E9D1B2-1E4B-448B-BC6F-BBFE5D622AF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9AE805FD-BAE4-4E9F-8362-D8BB22D3BE46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7BF16ABF-0904-4973-A587-FD4C4ED2D981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8" name="Текст 5">
            <a:extLst>
              <a:ext uri="{FF2B5EF4-FFF2-40B4-BE49-F238E27FC236}">
                <a16:creationId xmlns:a16="http://schemas.microsoft.com/office/drawing/2014/main" id="{F5873A3E-46D2-44CD-98F0-F5E4E1EFB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cxnSp>
        <p:nvCxnSpPr>
          <p:cNvPr id="39" name="Straight Connector 16">
            <a:extLst>
              <a:ext uri="{FF2B5EF4-FFF2-40B4-BE49-F238E27FC236}">
                <a16:creationId xmlns:a16="http://schemas.microsoft.com/office/drawing/2014/main" id="{3A606E07-582F-4CB4-992D-A4A427EE6AE8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119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, Tex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5">
            <a:extLst>
              <a:ext uri="{FF2B5EF4-FFF2-40B4-BE49-F238E27FC236}">
                <a16:creationId xmlns:a16="http://schemas.microsoft.com/office/drawing/2014/main" id="{A10AE28B-11A8-4A84-81CC-10B081BA20C6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310503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867F5487-0F10-4800-B163-2DC0A82F21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18" name="Текст 5">
            <a:extLst>
              <a:ext uri="{FF2B5EF4-FFF2-40B4-BE49-F238E27FC236}">
                <a16:creationId xmlns:a16="http://schemas.microsoft.com/office/drawing/2014/main" id="{A10AE28B-11A8-4A84-81CC-10B081BA2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8190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Text, Tex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Graphic 12">
            <a:extLst>
              <a:ext uri="{FF2B5EF4-FFF2-40B4-BE49-F238E27FC236}">
                <a16:creationId xmlns:a16="http://schemas.microsoft.com/office/drawing/2014/main" id="{4C995F83-AC2B-4F06-A075-D43DD010D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1" name="Rectangle 7">
            <a:extLst>
              <a:ext uri="{FF2B5EF4-FFF2-40B4-BE49-F238E27FC236}">
                <a16:creationId xmlns:a16="http://schemas.microsoft.com/office/drawing/2014/main" id="{3B36852D-4003-438D-8C8B-1A173D3D11FA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5214C33E-BB31-4C61-BE42-FD08BEFBEA17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0D4254B9-8D9B-4B89-AAF5-37CCAF6399DD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0" name="Straight Connector 15">
            <a:extLst>
              <a:ext uri="{FF2B5EF4-FFF2-40B4-BE49-F238E27FC236}">
                <a16:creationId xmlns:a16="http://schemas.microsoft.com/office/drawing/2014/main" id="{7830E3E5-637B-4A47-B4A9-29BA85031E0A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Текст 5">
            <a:extLst>
              <a:ext uri="{FF2B5EF4-FFF2-40B4-BE49-F238E27FC236}">
                <a16:creationId xmlns:a16="http://schemas.microsoft.com/office/drawing/2014/main" id="{F5873A3E-46D2-44CD-98F0-F5E4E1EFB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cxnSp>
        <p:nvCxnSpPr>
          <p:cNvPr id="39" name="Straight Connector 16">
            <a:extLst>
              <a:ext uri="{FF2B5EF4-FFF2-40B4-BE49-F238E27FC236}">
                <a16:creationId xmlns:a16="http://schemas.microsoft.com/office/drawing/2014/main" id="{3A606E07-582F-4CB4-992D-A4A427EE6AE8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Текст 5">
            <a:extLst>
              <a:ext uri="{FF2B5EF4-FFF2-40B4-BE49-F238E27FC236}">
                <a16:creationId xmlns:a16="http://schemas.microsoft.com/office/drawing/2014/main" id="{F5873A3E-46D2-44CD-98F0-F5E4E1EFB8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0503" y="1089850"/>
            <a:ext cx="5419725" cy="50760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70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6240" y="3269345"/>
            <a:ext cx="1128855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446241" y="3597806"/>
            <a:ext cx="112959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8" y="6060358"/>
            <a:ext cx="112871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pic>
        <p:nvPicPr>
          <p:cNvPr id="5" name="Graphic 12">
            <a:extLst>
              <a:ext uri="{FF2B5EF4-FFF2-40B4-BE49-F238E27FC236}">
                <a16:creationId xmlns:a16="http://schemas.microsoft.com/office/drawing/2014/main" id="{F74EFC83-9C4E-49DA-8627-8D714EF1CB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74A39AB2-074E-450D-9811-053D333A76B2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46240" y="3657600"/>
            <a:ext cx="11282400" cy="230282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DAE97C6-9430-4955-948C-76CC92C746C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296896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E87D5A5E-1415-4C6C-9AEF-BBC99FF5D88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6218B981-F3B1-4D30-AECF-050903AE432E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9">
            <a:extLst>
              <a:ext uri="{FF2B5EF4-FFF2-40B4-BE49-F238E27FC236}">
                <a16:creationId xmlns:a16="http://schemas.microsoft.com/office/drawing/2014/main" id="{592A884D-1902-4A91-8CC9-4DFDDBD5E896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1479215"/>
            <a:ext cx="5410200" cy="1425575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1" name="Текст 5">
            <a:extLst>
              <a:ext uri="{FF2B5EF4-FFF2-40B4-BE49-F238E27FC236}">
                <a16:creationId xmlns:a16="http://schemas.microsoft.com/office/drawing/2014/main" id="{0AF1609D-8D80-4969-81BC-374DFD1AF2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199625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957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D04B257D-F01C-4E7E-A96A-307E8AAB6D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4" name="Rectangle 7">
            <a:extLst>
              <a:ext uri="{FF2B5EF4-FFF2-40B4-BE49-F238E27FC236}">
                <a16:creationId xmlns:a16="http://schemas.microsoft.com/office/drawing/2014/main" id="{790B79CC-A158-4DF1-8E37-FA7E36DA4EC2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8B430AC9-49FD-4234-AE9B-E899AFFA2C0F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2BCFED25-DE04-4495-AE39-C4F13FD8205E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7" name="Straight Connector 15">
            <a:extLst>
              <a:ext uri="{FF2B5EF4-FFF2-40B4-BE49-F238E27FC236}">
                <a16:creationId xmlns:a16="http://schemas.microsoft.com/office/drawing/2014/main" id="{4676245F-3F6C-46B3-A58A-AD5EA9C427A4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Текст 7">
            <a:extLst>
              <a:ext uri="{FF2B5EF4-FFF2-40B4-BE49-F238E27FC236}">
                <a16:creationId xmlns:a16="http://schemas.microsoft.com/office/drawing/2014/main" id="{8FEDF26B-DE65-47B6-A097-1C3BD62E4FC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6240" y="3269345"/>
            <a:ext cx="1128855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A75E8E76-1A30-485E-B57C-4BC3A14DB232}"/>
              </a:ext>
            </a:extLst>
          </p:cNvPr>
          <p:cNvCxnSpPr>
            <a:cxnSpLocks/>
          </p:cNvCxnSpPr>
          <p:nvPr userDrawn="1"/>
        </p:nvCxnSpPr>
        <p:spPr>
          <a:xfrm>
            <a:off x="446241" y="3597806"/>
            <a:ext cx="112959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0A46B198-7A94-45D8-855F-D01CC050175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8" y="6060358"/>
            <a:ext cx="112871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0" name="Content Placeholder 9">
            <a:extLst>
              <a:ext uri="{FF2B5EF4-FFF2-40B4-BE49-F238E27FC236}">
                <a16:creationId xmlns:a16="http://schemas.microsoft.com/office/drawing/2014/main" id="{F23E6C08-B7CB-4209-8834-3AFAD90A2495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46240" y="3661507"/>
            <a:ext cx="11282400" cy="230428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CDFF7911-97B4-4992-8270-605929865B6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297246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2" name="Текст 7">
            <a:extLst>
              <a:ext uri="{FF2B5EF4-FFF2-40B4-BE49-F238E27FC236}">
                <a16:creationId xmlns:a16="http://schemas.microsoft.com/office/drawing/2014/main" id="{A5E9D572-88B1-4C3B-B842-F203B18DF03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FB6E6C94-E770-49C6-8D88-4D80177201B6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9">
            <a:extLst>
              <a:ext uri="{FF2B5EF4-FFF2-40B4-BE49-F238E27FC236}">
                <a16:creationId xmlns:a16="http://schemas.microsoft.com/office/drawing/2014/main" id="{F050BACD-12B6-40AE-9802-947E6A1193B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1479182"/>
            <a:ext cx="5410200" cy="1426464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5" name="Текст 5">
            <a:extLst>
              <a:ext uri="{FF2B5EF4-FFF2-40B4-BE49-F238E27FC236}">
                <a16:creationId xmlns:a16="http://schemas.microsoft.com/office/drawing/2014/main" id="{DCC64C14-3C84-4781-84AE-635FD303BD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199625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96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C8188A5E-7058-42C2-8897-F040EDAE83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19" name="Текст 5">
            <a:extLst>
              <a:ext uri="{FF2B5EF4-FFF2-40B4-BE49-F238E27FC236}">
                <a16:creationId xmlns:a16="http://schemas.microsoft.com/office/drawing/2014/main" id="{4AEDB060-31BB-4923-BD6F-9AD602DF92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B087DCD8-06E1-4DBF-8118-863FFD03367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1686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E10129C6-BC57-44A6-9478-3A72395DE4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24600" y="2741354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FB6C71DF-8B61-4EBD-ACB2-63B4B9ED6C4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7674" y="6061686"/>
            <a:ext cx="54197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F8B7CFAA-1DFE-4494-AB4F-64239670AE9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5" y="2741354"/>
            <a:ext cx="5419726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8D20D176-2272-4069-8AD8-4DFEC5E76E85}"/>
              </a:ext>
            </a:extLst>
          </p:cNvPr>
          <p:cNvCxnSpPr>
            <a:cxnSpLocks/>
          </p:cNvCxnSpPr>
          <p:nvPr userDrawn="1"/>
        </p:nvCxnSpPr>
        <p:spPr>
          <a:xfrm>
            <a:off x="447675" y="3069815"/>
            <a:ext cx="541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72007F1E-F529-401C-817E-F0C091A2EDD4}"/>
              </a:ext>
            </a:extLst>
          </p:cNvPr>
          <p:cNvCxnSpPr>
            <a:cxnSpLocks/>
          </p:cNvCxnSpPr>
          <p:nvPr userDrawn="1"/>
        </p:nvCxnSpPr>
        <p:spPr>
          <a:xfrm>
            <a:off x="6327895" y="3069815"/>
            <a:ext cx="5394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9">
            <a:extLst>
              <a:ext uri="{FF2B5EF4-FFF2-40B4-BE49-F238E27FC236}">
                <a16:creationId xmlns:a16="http://schemas.microsoft.com/office/drawing/2014/main" id="{3F092FDC-ECDB-4D85-9CDF-B9698ECBF146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7675" y="3138228"/>
            <a:ext cx="5419725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9" name="Content Placeholder 9">
            <a:extLst>
              <a:ext uri="{FF2B5EF4-FFF2-40B4-BE49-F238E27FC236}">
                <a16:creationId xmlns:a16="http://schemas.microsoft.com/office/drawing/2014/main" id="{E190C8BF-638C-4CAF-B3CC-EC0F13DCC2EB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6324600" y="3138228"/>
            <a:ext cx="5410200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47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Text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35F66CD3-1E3B-4265-A073-D568663D0B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0" name="Rectangle 7">
            <a:extLst>
              <a:ext uri="{FF2B5EF4-FFF2-40B4-BE49-F238E27FC236}">
                <a16:creationId xmlns:a16="http://schemas.microsoft.com/office/drawing/2014/main" id="{4A045B0F-E364-43A7-BE32-2DD9B0D4DF6A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B6C8AAB4-25A0-4058-9D83-BA63FDE06FAB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B32F8EEA-05BE-4AD0-91A5-FA4DCFD2C3A0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Текст 5">
            <a:extLst>
              <a:ext uri="{FF2B5EF4-FFF2-40B4-BE49-F238E27FC236}">
                <a16:creationId xmlns:a16="http://schemas.microsoft.com/office/drawing/2014/main" id="{A64722C8-AEC3-4A09-B0CF-A551966281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BA304A8-0A47-4678-8B5A-FA7D2C737A9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1686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149C6A1D-0638-450E-ABCC-5559D5F4427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24600" y="2741354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F721BF7-6AB3-418D-9882-14A2FA159CA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7674" y="6061686"/>
            <a:ext cx="54197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B7B7A6A8-902F-401E-A989-8E1213F84B4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5" y="2741354"/>
            <a:ext cx="5419726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4E76343-6673-43CA-880C-322EA9458E8F}"/>
              </a:ext>
            </a:extLst>
          </p:cNvPr>
          <p:cNvCxnSpPr>
            <a:cxnSpLocks/>
          </p:cNvCxnSpPr>
          <p:nvPr userDrawn="1"/>
        </p:nvCxnSpPr>
        <p:spPr>
          <a:xfrm>
            <a:off x="447675" y="3069815"/>
            <a:ext cx="541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802A394D-B4DF-4093-8FBD-5B69963EE696}"/>
              </a:ext>
            </a:extLst>
          </p:cNvPr>
          <p:cNvCxnSpPr>
            <a:cxnSpLocks/>
          </p:cNvCxnSpPr>
          <p:nvPr userDrawn="1"/>
        </p:nvCxnSpPr>
        <p:spPr>
          <a:xfrm>
            <a:off x="6327895" y="3069815"/>
            <a:ext cx="5394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9">
            <a:extLst>
              <a:ext uri="{FF2B5EF4-FFF2-40B4-BE49-F238E27FC236}">
                <a16:creationId xmlns:a16="http://schemas.microsoft.com/office/drawing/2014/main" id="{6F3E6359-3B49-4CC2-B295-EF08F5C97FE2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7675" y="3138228"/>
            <a:ext cx="5419725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Content Placeholder 9">
            <a:extLst>
              <a:ext uri="{FF2B5EF4-FFF2-40B4-BE49-F238E27FC236}">
                <a16:creationId xmlns:a16="http://schemas.microsoft.com/office/drawing/2014/main" id="{0274C425-DEEB-4421-A112-DC6F4279F016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6324600" y="3138228"/>
            <a:ext cx="5410200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0294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, Chart_3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6241" y="3748937"/>
            <a:ext cx="542115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446241" y="4077398"/>
            <a:ext cx="54211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BA616E94-B6E4-446A-89CE-4CD5F02DAA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9" y="6060358"/>
            <a:ext cx="5422392" cy="1144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144000" lvl="0" indent="-144000">
              <a:spcAft>
                <a:spcPts val="551"/>
              </a:spcAft>
            </a:pPr>
            <a:r>
              <a:rPr lang="en-US" dirty="0"/>
              <a:t>Source: xxx</a:t>
            </a:r>
            <a:endParaRPr lang="en-GB" dirty="0"/>
          </a:p>
        </p:txBody>
      </p:sp>
      <p:pic>
        <p:nvPicPr>
          <p:cNvPr id="5" name="Graphic 12">
            <a:extLst>
              <a:ext uri="{FF2B5EF4-FFF2-40B4-BE49-F238E27FC236}">
                <a16:creationId xmlns:a16="http://schemas.microsoft.com/office/drawing/2014/main" id="{E3052697-BE26-4A8C-AF67-1F9A3A86AC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64F993BF-04D2-4DBB-86FE-B8E5FE236073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46239" y="4145433"/>
            <a:ext cx="5419725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2B63CF2-F6E1-4746-AC3E-85F53BB0698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64069AA5-2E4B-4821-8A27-5E0CBC8B87A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3918AA64-16A8-419B-AB31-FFEA1C421D77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7">
            <a:extLst>
              <a:ext uri="{FF2B5EF4-FFF2-40B4-BE49-F238E27FC236}">
                <a16:creationId xmlns:a16="http://schemas.microsoft.com/office/drawing/2014/main" id="{829610AD-5DE6-4039-8A3A-8D971FDAA4D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67DB4CF3-E9A9-45EA-8352-04FDEB0CE147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9FAE256-5CF9-40BA-A63A-BA8BDDE3CBD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8DC1C998-D9FC-4CB5-826A-283C24F5C448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5992DF36-E5B5-4574-A575-F7747560D03E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7" name="Текст 5">
            <a:extLst>
              <a:ext uri="{FF2B5EF4-FFF2-40B4-BE49-F238E27FC236}">
                <a16:creationId xmlns:a16="http://schemas.microsoft.com/office/drawing/2014/main" id="{6DEB9B44-EE27-4FE2-A90E-BAAA96564D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2433231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1536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Text, Chart_3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82AAE9F6-9114-4989-B967-BBC5B1D5AA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4" name="Rectangle 7">
            <a:extLst>
              <a:ext uri="{FF2B5EF4-FFF2-40B4-BE49-F238E27FC236}">
                <a16:creationId xmlns:a16="http://schemas.microsoft.com/office/drawing/2014/main" id="{3D47C925-DAF3-4081-9755-BB615CDF870A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E8B0CC6-4933-4AF3-A98E-95743E485B12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336A2DC3-2986-44FC-913F-5907E0B029D7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8" name="Straight Connector 16">
            <a:extLst>
              <a:ext uri="{FF2B5EF4-FFF2-40B4-BE49-F238E27FC236}">
                <a16:creationId xmlns:a16="http://schemas.microsoft.com/office/drawing/2014/main" id="{2D73A099-40FD-4215-A995-F10AE46DA0D7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Текст 7">
            <a:extLst>
              <a:ext uri="{FF2B5EF4-FFF2-40B4-BE49-F238E27FC236}">
                <a16:creationId xmlns:a16="http://schemas.microsoft.com/office/drawing/2014/main" id="{A056B62F-FA21-4533-BDD1-816A38BAE34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6241" y="3748937"/>
            <a:ext cx="542115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62B3F229-65CF-449E-B5F4-FA0C4282728E}"/>
              </a:ext>
            </a:extLst>
          </p:cNvPr>
          <p:cNvCxnSpPr>
            <a:cxnSpLocks/>
          </p:cNvCxnSpPr>
          <p:nvPr userDrawn="1"/>
        </p:nvCxnSpPr>
        <p:spPr>
          <a:xfrm>
            <a:off x="446241" y="4077398"/>
            <a:ext cx="54211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90680C3D-DF9A-4B56-8061-895BE40E9EF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39" y="6060358"/>
            <a:ext cx="5422392" cy="11443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800" b="0" i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144000" lvl="0" indent="-144000">
              <a:spcAft>
                <a:spcPts val="551"/>
              </a:spcAft>
            </a:pPr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9" name="Content Placeholder 9">
            <a:extLst>
              <a:ext uri="{FF2B5EF4-FFF2-40B4-BE49-F238E27FC236}">
                <a16:creationId xmlns:a16="http://schemas.microsoft.com/office/drawing/2014/main" id="{491753E8-EF2F-4833-96DF-2FB22CD3DA8B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46239" y="4145433"/>
            <a:ext cx="5419725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B4592243-6DEA-4350-9CE4-DFB347A73F7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AE963ABF-E137-4B57-A4DA-8D7BE1FE2C7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3631EC39-ADCC-44C4-8439-34C0DD56346F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Текст 7">
            <a:extLst>
              <a:ext uri="{FF2B5EF4-FFF2-40B4-BE49-F238E27FC236}">
                <a16:creationId xmlns:a16="http://schemas.microsoft.com/office/drawing/2014/main" id="{885FA9CA-540C-4919-BF35-55334036A2C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C350C787-B180-496F-B8A5-A448C431766A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FB295C4C-E874-4221-B423-A67F455B2D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50" name="Content Placeholder 9">
            <a:extLst>
              <a:ext uri="{FF2B5EF4-FFF2-40B4-BE49-F238E27FC236}">
                <a16:creationId xmlns:a16="http://schemas.microsoft.com/office/drawing/2014/main" id="{B137C9DE-A14D-4E8D-A42D-B974C3F0E06B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1" name="Content Placeholder 9">
            <a:extLst>
              <a:ext uri="{FF2B5EF4-FFF2-40B4-BE49-F238E27FC236}">
                <a16:creationId xmlns:a16="http://schemas.microsoft.com/office/drawing/2014/main" id="{F139CFAF-9632-4E8F-A5A3-871ECF6BB8FC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2" name="Текст 5">
            <a:extLst>
              <a:ext uri="{FF2B5EF4-FFF2-40B4-BE49-F238E27FC236}">
                <a16:creationId xmlns:a16="http://schemas.microsoft.com/office/drawing/2014/main" id="{CE405425-879D-436F-AC90-6D9BB31B59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4" y="1089850"/>
            <a:ext cx="5419725" cy="2433231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8319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Title (Tru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54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F43FB7BB-D84F-49DF-98F8-1C9C2DF7207E}"/>
              </a:ext>
            </a:extLst>
          </p:cNvPr>
          <p:cNvSpPr/>
          <p:nvPr userDrawn="1"/>
        </p:nvSpPr>
        <p:spPr>
          <a:xfrm>
            <a:off x="10970420" y="0"/>
            <a:ext cx="1221580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AB78FF-A483-48CC-B5C7-2C10C2BF9FD0}"/>
              </a:ext>
            </a:extLst>
          </p:cNvPr>
          <p:cNvSpPr/>
          <p:nvPr userDrawn="1"/>
        </p:nvSpPr>
        <p:spPr>
          <a:xfrm flipH="1" flipV="1">
            <a:off x="2286000" y="5257800"/>
            <a:ext cx="8684420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FB9BDD-0F47-4592-B121-06ABC7F01DA9}"/>
              </a:ext>
            </a:extLst>
          </p:cNvPr>
          <p:cNvSpPr/>
          <p:nvPr userDrawn="1"/>
        </p:nvSpPr>
        <p:spPr>
          <a:xfrm flipH="1" flipV="1">
            <a:off x="0" y="6411912"/>
            <a:ext cx="22860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D77CC5F-961B-46CA-8BE8-0C4F1B5239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8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88EC6632-3797-439D-8A97-75679CDDA7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7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1B19B26-A695-42C0-A7FE-285C34B263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775200" y="2653747"/>
            <a:ext cx="7266244" cy="3747052"/>
          </a:xfrm>
          <a:prstGeom prst="rect">
            <a:avLst/>
          </a:prstGeom>
        </p:spPr>
      </p:pic>
      <p:pic>
        <p:nvPicPr>
          <p:cNvPr id="4" name="Graphic 11">
            <a:extLst>
              <a:ext uri="{FF2B5EF4-FFF2-40B4-BE49-F238E27FC236}">
                <a16:creationId xmlns:a16="http://schemas.microsoft.com/office/drawing/2014/main" id="{5ED0CFC1-7BBC-48EA-B172-87C953B3AA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39D0635-5E43-4FFF-A3C5-4DEEA04DF0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114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72A1B0C-95EB-4292-97BE-747EDF9705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114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8" name="Graphic 21">
            <a:extLst>
              <a:ext uri="{FF2B5EF4-FFF2-40B4-BE49-F238E27FC236}">
                <a16:creationId xmlns:a16="http://schemas.microsoft.com/office/drawing/2014/main" id="{5AFE6EA4-E61C-46D9-A856-745D7DE5EDB4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B3FCA03D-6FFA-44C9-A555-CA296F997E1B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21B49AFB-5C37-4871-9A0D-07C96489A00C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" name="Graphic 20">
            <a:extLst>
              <a:ext uri="{FF2B5EF4-FFF2-40B4-BE49-F238E27FC236}">
                <a16:creationId xmlns:a16="http://schemas.microsoft.com/office/drawing/2014/main" id="{1B6438A0-26FF-49BF-8CA3-7FFC0C38D879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93996C1E-426C-4C27-9526-DED0645D10B6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D2887B98-D1FB-4606-B1AE-C7C42C8A5A3F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B77E3A16-BB25-42EA-B7A6-47CB1A34062D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5F596F36-ABA7-42BC-8058-BC22E4E20258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279C8044-22DE-454D-A59A-F36B0B58A4CF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8E6A515A-FF22-4C73-A889-E6A66872CBE1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C3D9081A-D25A-4FEC-8D98-96BDA525E297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4953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Text, Chart_3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447676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4299102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8150074" y="3068487"/>
            <a:ext cx="35885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47ECC46-9784-43F1-A7E9-662229B054BF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D29FE2BB-697B-481D-8288-7B3DFECEFF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78342C58-56A5-4CCB-80E2-830E25F7D59D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46239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8" name="Content Placeholder 9">
            <a:extLst>
              <a:ext uri="{FF2B5EF4-FFF2-40B4-BE49-F238E27FC236}">
                <a16:creationId xmlns:a16="http://schemas.microsoft.com/office/drawing/2014/main" id="{75775CEF-2AAA-4242-9D43-5988C1FDB368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4299102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EAC5A848-3126-44CD-808D-87D9DC35DDA6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8150075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Текст 5">
            <a:extLst>
              <a:ext uri="{FF2B5EF4-FFF2-40B4-BE49-F238E27FC236}">
                <a16:creationId xmlns:a16="http://schemas.microsoft.com/office/drawing/2014/main" id="{41084D8E-4672-4577-979E-CC725F18E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4401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Text, Chart_3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447676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4299102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8150074" y="3068487"/>
            <a:ext cx="35885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47ECC46-9784-43F1-A7E9-662229B054BF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83745ACD-0047-4660-8F2A-613F8A575F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4" name="Rectangle 7">
            <a:extLst>
              <a:ext uri="{FF2B5EF4-FFF2-40B4-BE49-F238E27FC236}">
                <a16:creationId xmlns:a16="http://schemas.microsoft.com/office/drawing/2014/main" id="{2E5619FE-9068-4EA6-A70B-19A6751D466B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F5D5EEA2-2D22-4101-B28A-A745325EB371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C33B0CE7-35CB-427D-82FD-9FBA15C2C007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937433EA-8386-4C42-8B29-013B665F6064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46239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67F8D3DE-3300-46BA-95B6-E074FC437425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4299102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DE732D19-1596-4A27-AA2E-3F2D243E830D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8150075" y="3141663"/>
            <a:ext cx="3596400" cy="2736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id="{11C416B3-F4B9-4B9A-AC34-0C7AD4877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675" y="1089850"/>
            <a:ext cx="11287125" cy="1396800"/>
          </a:xfr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707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Chart/object_4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0EE11647-F371-4911-9809-39759A65C2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BDEC91F-0B6E-4A51-A1D7-1343FC1044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3F62D698-095C-487B-843D-BFC5B9F40B8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0A69A232-E471-4274-8A0F-6FCF1455960E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Текст 7">
            <a:extLst>
              <a:ext uri="{FF2B5EF4-FFF2-40B4-BE49-F238E27FC236}">
                <a16:creationId xmlns:a16="http://schemas.microsoft.com/office/drawing/2014/main" id="{C2F3F42B-4B41-4933-A6CE-CFBEBAF0639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F6E769AD-1504-498F-B456-2B951C2B3DD8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B1C348B6-616B-4AB7-84CD-7EEC7FEBDFA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1" name="Content Placeholder 9">
            <a:extLst>
              <a:ext uri="{FF2B5EF4-FFF2-40B4-BE49-F238E27FC236}">
                <a16:creationId xmlns:a16="http://schemas.microsoft.com/office/drawing/2014/main" id="{F090C5CF-9088-41DA-B2F9-4F0BD79A8C4A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2" name="Content Placeholder 9">
            <a:extLst>
              <a:ext uri="{FF2B5EF4-FFF2-40B4-BE49-F238E27FC236}">
                <a16:creationId xmlns:a16="http://schemas.microsoft.com/office/drawing/2014/main" id="{36F5827D-E844-4BC2-9C14-362E2BB44DCF}"/>
              </a:ext>
            </a:extLst>
          </p:cNvPr>
          <p:cNvSpPr>
            <a:spLocks noGrp="1"/>
          </p:cNvSpPr>
          <p:nvPr>
            <p:ph sz="quarter" idx="90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EFD8F1F6-D10C-48B0-8A0D-ECE0861461B3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447674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56" name="Текст 7">
            <a:extLst>
              <a:ext uri="{FF2B5EF4-FFF2-40B4-BE49-F238E27FC236}">
                <a16:creationId xmlns:a16="http://schemas.microsoft.com/office/drawing/2014/main" id="{EBFB2850-A40A-422D-8621-B3598F7E910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47674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641A0920-35A1-43D1-B1F8-649E55B84930}"/>
              </a:ext>
            </a:extLst>
          </p:cNvPr>
          <p:cNvCxnSpPr>
            <a:cxnSpLocks/>
          </p:cNvCxnSpPr>
          <p:nvPr userDrawn="1"/>
        </p:nvCxnSpPr>
        <p:spPr>
          <a:xfrm>
            <a:off x="447674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Текст 7">
            <a:extLst>
              <a:ext uri="{FF2B5EF4-FFF2-40B4-BE49-F238E27FC236}">
                <a16:creationId xmlns:a16="http://schemas.microsoft.com/office/drawing/2014/main" id="{1FA23052-B4E4-49C2-BB70-FEEBDE30CF8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47674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1BE9A231-70A4-4C8F-B599-DC3A8D81DB16}"/>
              </a:ext>
            </a:extLst>
          </p:cNvPr>
          <p:cNvCxnSpPr>
            <a:cxnSpLocks/>
          </p:cNvCxnSpPr>
          <p:nvPr userDrawn="1"/>
        </p:nvCxnSpPr>
        <p:spPr>
          <a:xfrm>
            <a:off x="447674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4A7E365E-E305-42D0-9FE5-9DBAE1F6C1AA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47674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61" name="Content Placeholder 9">
            <a:extLst>
              <a:ext uri="{FF2B5EF4-FFF2-40B4-BE49-F238E27FC236}">
                <a16:creationId xmlns:a16="http://schemas.microsoft.com/office/drawing/2014/main" id="{FF381ED2-B0E9-40B1-8D5C-1CBF5B3F4C95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447674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2" name="Content Placeholder 9">
            <a:extLst>
              <a:ext uri="{FF2B5EF4-FFF2-40B4-BE49-F238E27FC236}">
                <a16:creationId xmlns:a16="http://schemas.microsoft.com/office/drawing/2014/main" id="{B00E196D-D7C6-4F81-89E7-1DC02C292E28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447674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7854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Chart/object_4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12">
            <a:extLst>
              <a:ext uri="{FF2B5EF4-FFF2-40B4-BE49-F238E27FC236}">
                <a16:creationId xmlns:a16="http://schemas.microsoft.com/office/drawing/2014/main" id="{52705B27-CD81-4194-A17A-ADD60AD71C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32" name="Rectangle 7">
            <a:extLst>
              <a:ext uri="{FF2B5EF4-FFF2-40B4-BE49-F238E27FC236}">
                <a16:creationId xmlns:a16="http://schemas.microsoft.com/office/drawing/2014/main" id="{FE3C901B-1E2B-435A-9822-BE49FDB447EA}"/>
              </a:ext>
            </a:extLst>
          </p:cNvPr>
          <p:cNvSpPr/>
          <p:nvPr userDrawn="1"/>
        </p:nvSpPr>
        <p:spPr>
          <a:xfrm>
            <a:off x="11831637" y="6312971"/>
            <a:ext cx="360363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BCB6A84-EF44-4B4D-87AF-05B358F74D02}"/>
              </a:ext>
            </a:extLst>
          </p:cNvPr>
          <p:cNvSpPr/>
          <p:nvPr userDrawn="1"/>
        </p:nvSpPr>
        <p:spPr>
          <a:xfrm>
            <a:off x="9639300" y="6673334"/>
            <a:ext cx="2192337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3DBE928D-121D-4B2F-964F-96481BE92A01}"/>
              </a:ext>
            </a:extLst>
          </p:cNvPr>
          <p:cNvSpPr/>
          <p:nvPr userDrawn="1"/>
        </p:nvSpPr>
        <p:spPr>
          <a:xfrm rot="5400000">
            <a:off x="-349761" y="349762"/>
            <a:ext cx="756000" cy="56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36" name="Straight Connector 15">
            <a:extLst>
              <a:ext uri="{FF2B5EF4-FFF2-40B4-BE49-F238E27FC236}">
                <a16:creationId xmlns:a16="http://schemas.microsoft.com/office/drawing/2014/main" id="{E8C11EAF-8936-418B-9E9C-46C7404B6BDD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8E773698-2119-461E-9D7C-7319356155B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24600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8" name="Текст 7">
            <a:extLst>
              <a:ext uri="{FF2B5EF4-FFF2-40B4-BE49-F238E27FC236}">
                <a16:creationId xmlns:a16="http://schemas.microsoft.com/office/drawing/2014/main" id="{E83605A2-0C17-458E-B328-0C801B1D544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24600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2576E0F8-7F5F-4576-8496-C530588988A0}"/>
              </a:ext>
            </a:extLst>
          </p:cNvPr>
          <p:cNvCxnSpPr>
            <a:cxnSpLocks/>
          </p:cNvCxnSpPr>
          <p:nvPr userDrawn="1"/>
        </p:nvCxnSpPr>
        <p:spPr>
          <a:xfrm>
            <a:off x="6324600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Текст 7">
            <a:extLst>
              <a:ext uri="{FF2B5EF4-FFF2-40B4-BE49-F238E27FC236}">
                <a16:creationId xmlns:a16="http://schemas.microsoft.com/office/drawing/2014/main" id="{1EA34E6D-CFC2-4446-BD5B-55F639A0A01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24600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E032CB6B-2404-43DA-A4FA-E811E7BC4432}"/>
              </a:ext>
            </a:extLst>
          </p:cNvPr>
          <p:cNvCxnSpPr>
            <a:cxnSpLocks/>
          </p:cNvCxnSpPr>
          <p:nvPr userDrawn="1"/>
        </p:nvCxnSpPr>
        <p:spPr>
          <a:xfrm>
            <a:off x="6324600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088CCAB4-1040-47E6-A770-1A1E1ADFA15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9" name="Content Placeholder 9">
            <a:extLst>
              <a:ext uri="{FF2B5EF4-FFF2-40B4-BE49-F238E27FC236}">
                <a16:creationId xmlns:a16="http://schemas.microsoft.com/office/drawing/2014/main" id="{EBE26E53-2C6B-4430-AE60-A2C450867FB7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6324600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0" name="Content Placeholder 9">
            <a:extLst>
              <a:ext uri="{FF2B5EF4-FFF2-40B4-BE49-F238E27FC236}">
                <a16:creationId xmlns:a16="http://schemas.microsoft.com/office/drawing/2014/main" id="{4397F3A0-2B08-4357-89F0-AB721A1CD1FB}"/>
              </a:ext>
            </a:extLst>
          </p:cNvPr>
          <p:cNvSpPr>
            <a:spLocks noGrp="1"/>
          </p:cNvSpPr>
          <p:nvPr>
            <p:ph sz="quarter" idx="90" hasCustomPrompt="1"/>
          </p:nvPr>
        </p:nvSpPr>
        <p:spPr>
          <a:xfrm>
            <a:off x="6324600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83CD0CB9-4664-4B65-A030-654FF912A86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447674" y="3408651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52" name="Текст 7">
            <a:extLst>
              <a:ext uri="{FF2B5EF4-FFF2-40B4-BE49-F238E27FC236}">
                <a16:creationId xmlns:a16="http://schemas.microsoft.com/office/drawing/2014/main" id="{49040FE3-CACF-41D9-9075-6CADFD8057F6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447674" y="1090929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3C57CC88-4610-4D80-82C4-BAE22AC35C19}"/>
              </a:ext>
            </a:extLst>
          </p:cNvPr>
          <p:cNvCxnSpPr>
            <a:cxnSpLocks/>
          </p:cNvCxnSpPr>
          <p:nvPr userDrawn="1"/>
        </p:nvCxnSpPr>
        <p:spPr>
          <a:xfrm>
            <a:off x="447674" y="141939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Текст 7">
            <a:extLst>
              <a:ext uri="{FF2B5EF4-FFF2-40B4-BE49-F238E27FC236}">
                <a16:creationId xmlns:a16="http://schemas.microsoft.com/office/drawing/2014/main" id="{DF14D145-730D-4B42-8817-0E3CCB3FF2E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47674" y="3748937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846EDF19-2800-45B2-87AC-D2EF146B7049}"/>
              </a:ext>
            </a:extLst>
          </p:cNvPr>
          <p:cNvCxnSpPr>
            <a:cxnSpLocks/>
          </p:cNvCxnSpPr>
          <p:nvPr userDrawn="1"/>
        </p:nvCxnSpPr>
        <p:spPr>
          <a:xfrm>
            <a:off x="447674" y="4077398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29A223D7-A0EB-4579-8DF2-50B8955DAC9C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47674" y="6060358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57" name="Content Placeholder 9">
            <a:extLst>
              <a:ext uri="{FF2B5EF4-FFF2-40B4-BE49-F238E27FC236}">
                <a16:creationId xmlns:a16="http://schemas.microsoft.com/office/drawing/2014/main" id="{6D6B0E04-C6CA-4E21-8A70-397381696469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447674" y="1487804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8" name="Content Placeholder 9">
            <a:extLst>
              <a:ext uri="{FF2B5EF4-FFF2-40B4-BE49-F238E27FC236}">
                <a16:creationId xmlns:a16="http://schemas.microsoft.com/office/drawing/2014/main" id="{7D53898B-8CAF-4A84-9E20-E06038F22470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447674" y="4145433"/>
            <a:ext cx="5410200" cy="17352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1483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_2 pc., Chart_2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Rectangle 59">
            <a:extLst>
              <a:ext uri="{FF2B5EF4-FFF2-40B4-BE49-F238E27FC236}">
                <a16:creationId xmlns:a16="http://schemas.microsoft.com/office/drawing/2014/main" id="{DE8071DE-149B-44FE-BA5A-07E37AE71BC6}"/>
              </a:ext>
            </a:extLst>
          </p:cNvPr>
          <p:cNvSpPr/>
          <p:nvPr userDrawn="1"/>
        </p:nvSpPr>
        <p:spPr>
          <a:xfrm>
            <a:off x="447674" y="1091883"/>
            <a:ext cx="47925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rtlCol="0" anchor="ctr"/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0" name="Rectangle 61">
            <a:extLst>
              <a:ext uri="{FF2B5EF4-FFF2-40B4-BE49-F238E27FC236}">
                <a16:creationId xmlns:a16="http://schemas.microsoft.com/office/drawing/2014/main" id="{32369FA1-8576-42FE-B591-210AA2D7A2CA}"/>
              </a:ext>
            </a:extLst>
          </p:cNvPr>
          <p:cNvSpPr/>
          <p:nvPr userDrawn="1"/>
        </p:nvSpPr>
        <p:spPr>
          <a:xfrm>
            <a:off x="6324600" y="1091884"/>
            <a:ext cx="47925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rtlCol="0" anchor="ctr"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4330EC-B94C-40C2-95EE-78B14B0044A8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C424C0A8-C89E-47CF-99BA-B62BF72079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25" name="Текст 5">
            <a:extLst>
              <a:ext uri="{FF2B5EF4-FFF2-40B4-BE49-F238E27FC236}">
                <a16:creationId xmlns:a16="http://schemas.microsoft.com/office/drawing/2014/main" id="{04E9F94B-C494-478A-ACF9-1FBA3F26E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124" y="1089850"/>
            <a:ext cx="5375275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28" name="Текст 5">
            <a:extLst>
              <a:ext uri="{FF2B5EF4-FFF2-40B4-BE49-F238E27FC236}">
                <a16:creationId xmlns:a16="http://schemas.microsoft.com/office/drawing/2014/main" id="{0972022D-32A9-4A0B-B594-00CE19A44A6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372525" y="1089850"/>
            <a:ext cx="5357702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ECB0622-D1DA-4043-BC6C-F7B10C0DCA3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24600" y="6061686"/>
            <a:ext cx="541020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CDE394B3-F421-4330-B96A-7648376A48A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324600" y="2741354"/>
            <a:ext cx="541020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FA18115-7BC8-4F6A-B76F-AD7C90D1D80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7674" y="6061686"/>
            <a:ext cx="5419725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CFAC200-214E-492A-87DF-1EB9753FC5D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7675" y="2741354"/>
            <a:ext cx="5419726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1B9C032E-479F-44B5-BD3D-F9F1D6CF6EF3}"/>
              </a:ext>
            </a:extLst>
          </p:cNvPr>
          <p:cNvCxnSpPr>
            <a:cxnSpLocks/>
          </p:cNvCxnSpPr>
          <p:nvPr userDrawn="1"/>
        </p:nvCxnSpPr>
        <p:spPr>
          <a:xfrm>
            <a:off x="447675" y="3069815"/>
            <a:ext cx="541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C759098-F77B-47C0-9D54-71160971F40D}"/>
              </a:ext>
            </a:extLst>
          </p:cNvPr>
          <p:cNvCxnSpPr>
            <a:cxnSpLocks/>
          </p:cNvCxnSpPr>
          <p:nvPr userDrawn="1"/>
        </p:nvCxnSpPr>
        <p:spPr>
          <a:xfrm>
            <a:off x="6327895" y="3069815"/>
            <a:ext cx="5394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9">
            <a:extLst>
              <a:ext uri="{FF2B5EF4-FFF2-40B4-BE49-F238E27FC236}">
                <a16:creationId xmlns:a16="http://schemas.microsoft.com/office/drawing/2014/main" id="{7F44A7A0-75FB-4895-96B1-E8EE7D117534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447675" y="3138228"/>
            <a:ext cx="5419725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0" name="Content Placeholder 9">
            <a:extLst>
              <a:ext uri="{FF2B5EF4-FFF2-40B4-BE49-F238E27FC236}">
                <a16:creationId xmlns:a16="http://schemas.microsoft.com/office/drawing/2014/main" id="{F486394F-C997-400D-A85E-C7D1C4DF212B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6324600" y="3138228"/>
            <a:ext cx="5410200" cy="2734243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cxnSp>
        <p:nvCxnSpPr>
          <p:cNvPr id="22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5103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Text_3 pc., Chart_3 p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168620"/>
            <a:ext cx="9763125" cy="609398"/>
          </a:xfrm>
        </p:spPr>
        <p:txBody>
          <a:bodyPr anchor="b"/>
          <a:lstStyle>
            <a:lvl1pPr>
              <a:lnSpc>
                <a:spcPts val="2300"/>
              </a:lnSpc>
              <a:defRPr sz="2200" b="1"/>
            </a:lvl1pPr>
          </a:lstStyle>
          <a:p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6240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47676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447676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297666" y="6060358"/>
            <a:ext cx="359628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299102" y="2747012"/>
            <a:ext cx="3597123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4299102" y="3068487"/>
            <a:ext cx="35994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48638" y="6060358"/>
            <a:ext cx="3585330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en-US" dirty="0"/>
              <a:t>Source: xxx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150075" y="2747012"/>
            <a:ext cx="358616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8150074" y="3068487"/>
            <a:ext cx="35885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9">
            <a:extLst>
              <a:ext uri="{FF2B5EF4-FFF2-40B4-BE49-F238E27FC236}">
                <a16:creationId xmlns:a16="http://schemas.microsoft.com/office/drawing/2014/main" id="{835CDA0B-7955-4660-85B7-E7C5B37FD55D}"/>
              </a:ext>
            </a:extLst>
          </p:cNvPr>
          <p:cNvSpPr/>
          <p:nvPr userDrawn="1"/>
        </p:nvSpPr>
        <p:spPr>
          <a:xfrm>
            <a:off x="447674" y="1091883"/>
            <a:ext cx="47925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rtlCol="0" anchor="ctr"/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61">
            <a:extLst>
              <a:ext uri="{FF2B5EF4-FFF2-40B4-BE49-F238E27FC236}">
                <a16:creationId xmlns:a16="http://schemas.microsoft.com/office/drawing/2014/main" id="{A751F34E-CB38-4D2F-B4A9-75905E0285B5}"/>
              </a:ext>
            </a:extLst>
          </p:cNvPr>
          <p:cNvSpPr/>
          <p:nvPr userDrawn="1"/>
        </p:nvSpPr>
        <p:spPr>
          <a:xfrm>
            <a:off x="4297891" y="1091884"/>
            <a:ext cx="47925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rtlCol="0" anchor="ctr"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:a16="http://schemas.microsoft.com/office/drawing/2014/main" id="{F819EBA9-C914-411D-81E3-28B69329C143}"/>
              </a:ext>
            </a:extLst>
          </p:cNvPr>
          <p:cNvSpPr/>
          <p:nvPr userDrawn="1"/>
        </p:nvSpPr>
        <p:spPr>
          <a:xfrm>
            <a:off x="8150011" y="1091884"/>
            <a:ext cx="47925" cy="1400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88000" rtlCol="0" anchor="ctr"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57A317-0112-48EB-8775-73B19DA39741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F4C400-B22F-4F61-9C68-9ABEB58044BA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12">
            <a:extLst>
              <a:ext uri="{FF2B5EF4-FFF2-40B4-BE49-F238E27FC236}">
                <a16:creationId xmlns:a16="http://schemas.microsoft.com/office/drawing/2014/main" id="{8F66E382-8297-47A8-A1B2-ADD3E58323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6115" y="541265"/>
            <a:ext cx="1254113" cy="196506"/>
          </a:xfrm>
          <a:prstGeom prst="rect">
            <a:avLst/>
          </a:prstGeom>
        </p:spPr>
      </p:pic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4DF11E15-48D9-4716-908C-F0E7FC12FBB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447676" y="3141663"/>
            <a:ext cx="3596400" cy="27360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Content Placeholder 9">
            <a:extLst>
              <a:ext uri="{FF2B5EF4-FFF2-40B4-BE49-F238E27FC236}">
                <a16:creationId xmlns:a16="http://schemas.microsoft.com/office/drawing/2014/main" id="{B9F76991-78FF-45C6-99CE-2719A19DDFDB}"/>
              </a:ext>
            </a:extLst>
          </p:cNvPr>
          <p:cNvSpPr>
            <a:spLocks noGrp="1"/>
          </p:cNvSpPr>
          <p:nvPr>
            <p:ph sz="quarter" idx="85" hasCustomPrompt="1"/>
          </p:nvPr>
        </p:nvSpPr>
        <p:spPr>
          <a:xfrm>
            <a:off x="4299102" y="3141663"/>
            <a:ext cx="3596400" cy="27360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5" name="Content Placeholder 9">
            <a:extLst>
              <a:ext uri="{FF2B5EF4-FFF2-40B4-BE49-F238E27FC236}">
                <a16:creationId xmlns:a16="http://schemas.microsoft.com/office/drawing/2014/main" id="{B704218B-B3AD-469A-B9F3-843F122F6B84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8150075" y="3141663"/>
            <a:ext cx="3596400" cy="27360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1" name="Текст 5">
            <a:extLst>
              <a:ext uri="{FF2B5EF4-FFF2-40B4-BE49-F238E27FC236}">
                <a16:creationId xmlns:a16="http://schemas.microsoft.com/office/drawing/2014/main" id="{6B1B87D4-E41E-4E85-9F5B-CB73018C3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125" y="1089850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33" name="Текст 5">
            <a:extLst>
              <a:ext uri="{FF2B5EF4-FFF2-40B4-BE49-F238E27FC236}">
                <a16:creationId xmlns:a16="http://schemas.microsoft.com/office/drawing/2014/main" id="{DBA81788-6FCF-4717-BB9C-A7FD827B556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350225" y="1089850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  <p:sp>
        <p:nvSpPr>
          <p:cNvPr id="34" name="Текст 5">
            <a:extLst>
              <a:ext uri="{FF2B5EF4-FFF2-40B4-BE49-F238E27FC236}">
                <a16:creationId xmlns:a16="http://schemas.microsoft.com/office/drawing/2014/main" id="{EE74E3D1-DEEB-454A-A903-26E415EA98A4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188800" y="1089850"/>
            <a:ext cx="3546000" cy="1396800"/>
          </a:xfrm>
          <a:solidFill>
            <a:schemeClr val="bg1">
              <a:lumMod val="95000"/>
            </a:schemeClr>
          </a:solidFill>
        </p:spPr>
        <p:txBody>
          <a:bodyPr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15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53338" y="1156295"/>
            <a:ext cx="909950" cy="803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0245" y="3084920"/>
            <a:ext cx="9360000" cy="1387046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4800" dirty="0"/>
            </a:lvl1pPr>
          </a:lstStyle>
          <a:p>
            <a:pPr marL="0" lvl="0">
              <a:lnSpc>
                <a:spcPts val="5400"/>
              </a:lnSpc>
            </a:pPr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0245" y="4766015"/>
            <a:ext cx="660355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itional header 1 (optional)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27ECBD3-D0B4-4356-ACBE-BDDAD77DA2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0245" y="5226351"/>
            <a:ext cx="660355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Additional header 2 (optional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8131B2-8342-4742-970C-CD3D797DEEAC}"/>
              </a:ext>
            </a:extLst>
          </p:cNvPr>
          <p:cNvSpPr/>
          <p:nvPr userDrawn="1"/>
        </p:nvSpPr>
        <p:spPr>
          <a:xfrm rot="5400000">
            <a:off x="6042471" y="-3230907"/>
            <a:ext cx="454720" cy="109331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F35CD31-06AE-48F0-B8E3-FE2C5D5B9297}"/>
              </a:ext>
            </a:extLst>
          </p:cNvPr>
          <p:cNvSpPr/>
          <p:nvPr userDrawn="1"/>
        </p:nvSpPr>
        <p:spPr>
          <a:xfrm rot="5400000">
            <a:off x="11740060" y="2459338"/>
            <a:ext cx="454819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2848F21-7F2F-43BD-AC43-A4920EFBC3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74" y="471023"/>
            <a:ext cx="1526256" cy="23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75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226530" y="683531"/>
            <a:ext cx="3193675" cy="27410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B8A156B-0292-451D-8C2A-F8A07F74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1430" y="959277"/>
            <a:ext cx="4566225" cy="5436560"/>
          </a:xfrm>
          <a:custGeom>
            <a:avLst/>
            <a:gdLst>
              <a:gd name="connsiteX0" fmla="*/ 0 w 4566225"/>
              <a:gd name="connsiteY0" fmla="*/ 0 h 5436560"/>
              <a:gd name="connsiteX1" fmla="*/ 4566225 w 4566225"/>
              <a:gd name="connsiteY1" fmla="*/ 0 h 5436560"/>
              <a:gd name="connsiteX2" fmla="*/ 4566225 w 4566225"/>
              <a:gd name="connsiteY2" fmla="*/ 4983861 h 5436560"/>
              <a:gd name="connsiteX3" fmla="*/ 2738235 w 4566225"/>
              <a:gd name="connsiteY3" fmla="*/ 4983861 h 5436560"/>
              <a:gd name="connsiteX4" fmla="*/ 2738235 w 4566225"/>
              <a:gd name="connsiteY4" fmla="*/ 5436560 h 5436560"/>
              <a:gd name="connsiteX5" fmla="*/ 0 w 4566225"/>
              <a:gd name="connsiteY5" fmla="*/ 5436560 h 543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6225" h="5436560">
                <a:moveTo>
                  <a:pt x="0" y="0"/>
                </a:moveTo>
                <a:lnTo>
                  <a:pt x="4566225" y="0"/>
                </a:lnTo>
                <a:lnTo>
                  <a:pt x="4566225" y="4983861"/>
                </a:lnTo>
                <a:lnTo>
                  <a:pt x="2738235" y="4983861"/>
                </a:lnTo>
                <a:lnTo>
                  <a:pt x="2738235" y="5436560"/>
                </a:lnTo>
                <a:lnTo>
                  <a:pt x="0" y="5436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ysClr val="windowText" lastClr="000000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58BEACF-D6D1-4D7E-941C-99C50D53B7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0601" y="471023"/>
            <a:ext cx="1526256" cy="23914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6397991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4802478" y="4800325"/>
            <a:ext cx="452699" cy="273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4600" y="1208828"/>
            <a:ext cx="5410200" cy="1439497"/>
          </a:xfrm>
        </p:spPr>
        <p:txBody>
          <a:bodyPr wrap="square" anchor="b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4601" y="2942374"/>
            <a:ext cx="5407818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itional header 1 (optional)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4600" y="3420490"/>
            <a:ext cx="540781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Additional header 2 (optional)</a:t>
            </a:r>
          </a:p>
        </p:txBody>
      </p:sp>
    </p:spTree>
    <p:extLst>
      <p:ext uri="{BB962C8B-B14F-4D97-AF65-F5344CB8AC3E}">
        <p14:creationId xmlns:p14="http://schemas.microsoft.com/office/powerpoint/2010/main" val="36081344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50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226530" y="683531"/>
            <a:ext cx="3193675" cy="27410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10" name="Picture 6" descr="A picture containing large, train, glass, track&#10;&#10;Description automatically generated">
            <a:extLst>
              <a:ext uri="{FF2B5EF4-FFF2-40B4-BE49-F238E27FC236}">
                <a16:creationId xmlns:a16="http://schemas.microsoft.com/office/drawing/2014/main" id="{FAA2D909-E87B-4052-89D5-FE694CD70C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254" y="973694"/>
            <a:ext cx="4585855" cy="542214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58BEACF-D6D1-4D7E-941C-99C50D53B7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0601" y="471023"/>
            <a:ext cx="1526256" cy="23914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6397991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4802478" y="4800325"/>
            <a:ext cx="452699" cy="273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4600" y="1208828"/>
            <a:ext cx="5410200" cy="1439497"/>
          </a:xfrm>
        </p:spPr>
        <p:txBody>
          <a:bodyPr wrap="square" anchor="b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4601" y="2942374"/>
            <a:ext cx="5407818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itional header 1 (optional)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4600" y="3420490"/>
            <a:ext cx="540781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Additional header 2 (optional)</a:t>
            </a:r>
          </a:p>
        </p:txBody>
      </p:sp>
    </p:spTree>
    <p:extLst>
      <p:ext uri="{BB962C8B-B14F-4D97-AF65-F5344CB8AC3E}">
        <p14:creationId xmlns:p14="http://schemas.microsoft.com/office/powerpoint/2010/main" val="12534711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10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226530" y="683531"/>
            <a:ext cx="3193675" cy="27410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10" name="Picture 12" descr="A picture containing device&#10;&#10;Description automatically generated">
            <a:extLst>
              <a:ext uri="{FF2B5EF4-FFF2-40B4-BE49-F238E27FC236}">
                <a16:creationId xmlns:a16="http://schemas.microsoft.com/office/drawing/2014/main" id="{C1F6437E-4019-48B8-BDB5-03A66AB068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254" y="974221"/>
            <a:ext cx="4585855" cy="542161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58BEACF-D6D1-4D7E-941C-99C50D53B7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0601" y="471023"/>
            <a:ext cx="1526256" cy="23914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6397991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4802478" y="4800325"/>
            <a:ext cx="452699" cy="2738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4600" y="1208828"/>
            <a:ext cx="5410200" cy="1439497"/>
          </a:xfrm>
        </p:spPr>
        <p:txBody>
          <a:bodyPr wrap="square" anchor="b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4601" y="2942374"/>
            <a:ext cx="5407818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dditional header 1 (optional)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4600" y="3420490"/>
            <a:ext cx="540781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Additional header 2 (optional)</a:t>
            </a:r>
          </a:p>
        </p:txBody>
      </p:sp>
    </p:spTree>
    <p:extLst>
      <p:ext uri="{BB962C8B-B14F-4D97-AF65-F5344CB8AC3E}">
        <p14:creationId xmlns:p14="http://schemas.microsoft.com/office/powerpoint/2010/main" val="3325699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_Title (Tra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386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6F9FAA6C-F5B5-4374-9F07-560C93D7DCD7}"/>
              </a:ext>
            </a:extLst>
          </p:cNvPr>
          <p:cNvSpPr/>
          <p:nvPr userDrawn="1"/>
        </p:nvSpPr>
        <p:spPr>
          <a:xfrm>
            <a:off x="10970420" y="0"/>
            <a:ext cx="1221580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9EA179-C047-4D7C-9DA2-D4329FDD0CC1}"/>
              </a:ext>
            </a:extLst>
          </p:cNvPr>
          <p:cNvSpPr/>
          <p:nvPr userDrawn="1"/>
        </p:nvSpPr>
        <p:spPr>
          <a:xfrm flipH="1" flipV="1">
            <a:off x="2286000" y="5257800"/>
            <a:ext cx="8684420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199A19-C204-4190-BEC6-6331F05E38C5}"/>
              </a:ext>
            </a:extLst>
          </p:cNvPr>
          <p:cNvSpPr/>
          <p:nvPr userDrawn="1"/>
        </p:nvSpPr>
        <p:spPr>
          <a:xfrm flipH="1" flipV="1">
            <a:off x="0" y="6411912"/>
            <a:ext cx="22860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D77CC5F-961B-46CA-8BE8-0C4F1B5239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8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88EC6632-3797-439D-8A97-75679CDDA7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7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17" name="Picture 16" descr="A close up of a train&#10;&#10;Description automatically generated">
            <a:extLst>
              <a:ext uri="{FF2B5EF4-FFF2-40B4-BE49-F238E27FC236}">
                <a16:creationId xmlns:a16="http://schemas.microsoft.com/office/drawing/2014/main" id="{6DFCA56C-956F-4992-97D4-03DD0C1F6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2950" y="3043587"/>
            <a:ext cx="7639050" cy="3358800"/>
          </a:xfrm>
          <a:prstGeom prst="rect">
            <a:avLst/>
          </a:prstGeom>
        </p:spPr>
      </p:pic>
      <p:pic>
        <p:nvPicPr>
          <p:cNvPr id="2" name="Graphic 11">
            <a:extLst>
              <a:ext uri="{FF2B5EF4-FFF2-40B4-BE49-F238E27FC236}">
                <a16:creationId xmlns:a16="http://schemas.microsoft.com/office/drawing/2014/main" id="{48C32928-9552-42CA-A922-0A43EA6812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46A1D0A-0C10-448E-939E-CF199C85AB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78F7C28-B1D9-4823-900D-767772E6ED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8" name="Graphic 21">
            <a:extLst>
              <a:ext uri="{FF2B5EF4-FFF2-40B4-BE49-F238E27FC236}">
                <a16:creationId xmlns:a16="http://schemas.microsoft.com/office/drawing/2014/main" id="{0A806F84-4246-4F69-9E77-680C958A40E8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C78F3B00-4823-411C-B845-D33F102E84E3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2410DA75-55FA-41FF-87B2-75B356F7CDB2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1" name="Graphic 20">
            <a:extLst>
              <a:ext uri="{FF2B5EF4-FFF2-40B4-BE49-F238E27FC236}">
                <a16:creationId xmlns:a16="http://schemas.microsoft.com/office/drawing/2014/main" id="{549035A3-F671-4004-BC0C-62410D227937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4B37A342-0956-4899-9DB4-9A087E9F27DE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1CE8A75C-0C38-4502-B23F-2BA8D3BDEEFE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17101DE8-16D4-49B4-9DD4-53CA7F4C1A0B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69E6AF67-2B01-437D-92ED-290FD11A3F0A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CAAD3775-3497-49E0-8102-8E874558A371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B427420B-3933-4012-B448-025BBDD0D552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5C4B9633-23EB-4188-944F-16CB462C495A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299307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Contacts (3 text bo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ubtitle 2">
            <a:extLst>
              <a:ext uri="{FF2B5EF4-FFF2-40B4-BE49-F238E27FC236}">
                <a16:creationId xmlns:a16="http://schemas.microsoft.com/office/drawing/2014/main" id="{909F1A8E-6A45-404F-8ACE-D5C6D24098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9937" y="4086126"/>
            <a:ext cx="283464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hon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A7E253-0185-4935-85AA-01FB3A935D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9936" y="4889364"/>
            <a:ext cx="283464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marL="228600" lvl="0" indent="-228600"/>
            <a:r>
              <a:rPr lang="en-US" dirty="0"/>
              <a:t>E-mail</a:t>
            </a:r>
          </a:p>
        </p:txBody>
      </p:sp>
      <p:cxnSp>
        <p:nvCxnSpPr>
          <p:cNvPr id="34" name="Straight Connector 14">
            <a:extLst>
              <a:ext uri="{FF2B5EF4-FFF2-40B4-BE49-F238E27FC236}">
                <a16:creationId xmlns:a16="http://schemas.microsoft.com/office/drawing/2014/main" id="{B0BED696-C1F7-4C85-944D-ABEFD9003DC3}"/>
              </a:ext>
            </a:extLst>
          </p:cNvPr>
          <p:cNvCxnSpPr>
            <a:cxnSpLocks/>
          </p:cNvCxnSpPr>
          <p:nvPr userDrawn="1"/>
        </p:nvCxnSpPr>
        <p:spPr>
          <a:xfrm>
            <a:off x="463253" y="5438313"/>
            <a:ext cx="3438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3B7F029-AB82-4703-9854-E95C558026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9936" y="5667217"/>
            <a:ext cx="283464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marL="228600" lvl="0" indent="-228600"/>
            <a:r>
              <a:rPr lang="en-US" dirty="0"/>
              <a:t>Website</a:t>
            </a:r>
          </a:p>
        </p:txBody>
      </p:sp>
      <p:pic>
        <p:nvPicPr>
          <p:cNvPr id="39" name="Graphic 23">
            <a:extLst>
              <a:ext uri="{FF2B5EF4-FFF2-40B4-BE49-F238E27FC236}">
                <a16:creationId xmlns:a16="http://schemas.microsoft.com/office/drawing/2014/main" id="{E893C8B9-F1D1-4614-B176-5377A6556D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cxnSp>
        <p:nvCxnSpPr>
          <p:cNvPr id="18" name="Straight Connector 6">
            <a:extLst>
              <a:ext uri="{FF2B5EF4-FFF2-40B4-BE49-F238E27FC236}">
                <a16:creationId xmlns:a16="http://schemas.microsoft.com/office/drawing/2014/main" id="{19C19660-D922-4E08-AA2E-8AC24A270EE6}"/>
              </a:ext>
            </a:extLst>
          </p:cNvPr>
          <p:cNvCxnSpPr>
            <a:cxnSpLocks/>
          </p:cNvCxnSpPr>
          <p:nvPr userDrawn="1"/>
        </p:nvCxnSpPr>
        <p:spPr>
          <a:xfrm>
            <a:off x="463254" y="4621645"/>
            <a:ext cx="3438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92DF0CB-996F-4698-8DDD-5CDDD244C49D}"/>
              </a:ext>
            </a:extLst>
          </p:cNvPr>
          <p:cNvGrpSpPr/>
          <p:nvPr userDrawn="1"/>
        </p:nvGrpSpPr>
        <p:grpSpPr>
          <a:xfrm>
            <a:off x="1" y="6669086"/>
            <a:ext cx="12191800" cy="188913"/>
            <a:chOff x="1" y="6669086"/>
            <a:chExt cx="12191800" cy="188913"/>
          </a:xfrm>
        </p:grpSpPr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6006DAF8-6912-40AC-8FB7-DBB8152ADF32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497CD7D4-F97C-452E-9A26-7E391799B8F0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501F045D-E3A7-461C-8102-459AD925D2F0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sp>
        <p:nvSpPr>
          <p:cNvPr id="2" name="Graphic 20">
            <a:extLst>
              <a:ext uri="{FF2B5EF4-FFF2-40B4-BE49-F238E27FC236}">
                <a16:creationId xmlns:a16="http://schemas.microsoft.com/office/drawing/2014/main" id="{A7EDAA9B-290D-4D5A-93B5-192F5E6BC419}"/>
              </a:ext>
            </a:extLst>
          </p:cNvPr>
          <p:cNvSpPr/>
          <p:nvPr/>
        </p:nvSpPr>
        <p:spPr>
          <a:xfrm>
            <a:off x="535835" y="4043702"/>
            <a:ext cx="212003" cy="333405"/>
          </a:xfrm>
          <a:custGeom>
            <a:avLst/>
            <a:gdLst>
              <a:gd name="connsiteX0" fmla="*/ 0 w 212003"/>
              <a:gd name="connsiteY0" fmla="*/ 0 h 333405"/>
              <a:gd name="connsiteX1" fmla="*/ 0 w 212003"/>
              <a:gd name="connsiteY1" fmla="*/ 333405 h 333405"/>
              <a:gd name="connsiteX2" fmla="*/ 212003 w 212003"/>
              <a:gd name="connsiteY2" fmla="*/ 333405 h 333405"/>
              <a:gd name="connsiteX3" fmla="*/ 212003 w 212003"/>
              <a:gd name="connsiteY3" fmla="*/ 0 h 333405"/>
              <a:gd name="connsiteX4" fmla="*/ 0 w 212003"/>
              <a:gd name="connsiteY4" fmla="*/ 0 h 333405"/>
              <a:gd name="connsiteX5" fmla="*/ 187843 w 212003"/>
              <a:gd name="connsiteY5" fmla="*/ 24160 h 333405"/>
              <a:gd name="connsiteX6" fmla="*/ 187843 w 212003"/>
              <a:gd name="connsiteY6" fmla="*/ 246007 h 333405"/>
              <a:gd name="connsiteX7" fmla="*/ 24160 w 212003"/>
              <a:gd name="connsiteY7" fmla="*/ 246007 h 333405"/>
              <a:gd name="connsiteX8" fmla="*/ 24160 w 212003"/>
              <a:gd name="connsiteY8" fmla="*/ 24160 h 333405"/>
              <a:gd name="connsiteX9" fmla="*/ 187843 w 212003"/>
              <a:gd name="connsiteY9" fmla="*/ 24160 h 333405"/>
              <a:gd name="connsiteX10" fmla="*/ 24160 w 212003"/>
              <a:gd name="connsiteY10" fmla="*/ 309245 h 333405"/>
              <a:gd name="connsiteX11" fmla="*/ 24160 w 212003"/>
              <a:gd name="connsiteY11" fmla="*/ 270167 h 333405"/>
              <a:gd name="connsiteX12" fmla="*/ 187843 w 212003"/>
              <a:gd name="connsiteY12" fmla="*/ 270167 h 333405"/>
              <a:gd name="connsiteX13" fmla="*/ 187843 w 212003"/>
              <a:gd name="connsiteY13" fmla="*/ 309245 h 333405"/>
              <a:gd name="connsiteX14" fmla="*/ 24160 w 212003"/>
              <a:gd name="connsiteY14" fmla="*/ 309245 h 33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003" h="333405">
                <a:moveTo>
                  <a:pt x="0" y="0"/>
                </a:moveTo>
                <a:lnTo>
                  <a:pt x="0" y="333405"/>
                </a:lnTo>
                <a:lnTo>
                  <a:pt x="212003" y="333405"/>
                </a:lnTo>
                <a:lnTo>
                  <a:pt x="212003" y="0"/>
                </a:lnTo>
                <a:lnTo>
                  <a:pt x="0" y="0"/>
                </a:lnTo>
                <a:close/>
                <a:moveTo>
                  <a:pt x="187843" y="24160"/>
                </a:moveTo>
                <a:lnTo>
                  <a:pt x="187843" y="246007"/>
                </a:lnTo>
                <a:lnTo>
                  <a:pt x="24160" y="246007"/>
                </a:lnTo>
                <a:lnTo>
                  <a:pt x="24160" y="24160"/>
                </a:lnTo>
                <a:lnTo>
                  <a:pt x="187843" y="24160"/>
                </a:lnTo>
                <a:close/>
                <a:moveTo>
                  <a:pt x="24160" y="309245"/>
                </a:moveTo>
                <a:lnTo>
                  <a:pt x="24160" y="270167"/>
                </a:lnTo>
                <a:lnTo>
                  <a:pt x="187843" y="270167"/>
                </a:lnTo>
                <a:lnTo>
                  <a:pt x="187843" y="309245"/>
                </a:lnTo>
                <a:lnTo>
                  <a:pt x="24160" y="309245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Graphic 21">
            <a:extLst>
              <a:ext uri="{FF2B5EF4-FFF2-40B4-BE49-F238E27FC236}">
                <a16:creationId xmlns:a16="http://schemas.microsoft.com/office/drawing/2014/main" id="{523E73C6-E781-4F87-B911-CC2029F08AE7}"/>
              </a:ext>
            </a:extLst>
          </p:cNvPr>
          <p:cNvSpPr/>
          <p:nvPr/>
        </p:nvSpPr>
        <p:spPr>
          <a:xfrm>
            <a:off x="460079" y="4909340"/>
            <a:ext cx="330330" cy="229519"/>
          </a:xfrm>
          <a:custGeom>
            <a:avLst/>
            <a:gdLst>
              <a:gd name="connsiteX0" fmla="*/ 0 w 330330"/>
              <a:gd name="connsiteY0" fmla="*/ 0 h 229519"/>
              <a:gd name="connsiteX1" fmla="*/ 0 w 330330"/>
              <a:gd name="connsiteY1" fmla="*/ 229519 h 229519"/>
              <a:gd name="connsiteX2" fmla="*/ 330331 w 330330"/>
              <a:gd name="connsiteY2" fmla="*/ 229519 h 229519"/>
              <a:gd name="connsiteX3" fmla="*/ 330331 w 330330"/>
              <a:gd name="connsiteY3" fmla="*/ 0 h 229519"/>
              <a:gd name="connsiteX4" fmla="*/ 0 w 330330"/>
              <a:gd name="connsiteY4" fmla="*/ 0 h 229519"/>
              <a:gd name="connsiteX5" fmla="*/ 289017 w 330330"/>
              <a:gd name="connsiteY5" fmla="*/ 24160 h 229519"/>
              <a:gd name="connsiteX6" fmla="*/ 164954 w 330330"/>
              <a:gd name="connsiteY6" fmla="*/ 147919 h 229519"/>
              <a:gd name="connsiteX7" fmla="*/ 41254 w 330330"/>
              <a:gd name="connsiteY7" fmla="*/ 24160 h 229519"/>
              <a:gd name="connsiteX8" fmla="*/ 289017 w 330330"/>
              <a:gd name="connsiteY8" fmla="*/ 24160 h 229519"/>
              <a:gd name="connsiteX9" fmla="*/ 24160 w 330330"/>
              <a:gd name="connsiteY9" fmla="*/ 205359 h 229519"/>
              <a:gd name="connsiteX10" fmla="*/ 24160 w 330330"/>
              <a:gd name="connsiteY10" fmla="*/ 41253 h 229519"/>
              <a:gd name="connsiteX11" fmla="*/ 164954 w 330330"/>
              <a:gd name="connsiteY11" fmla="*/ 182045 h 229519"/>
              <a:gd name="connsiteX12" fmla="*/ 306170 w 330330"/>
              <a:gd name="connsiteY12" fmla="*/ 41193 h 229519"/>
              <a:gd name="connsiteX13" fmla="*/ 306170 w 330330"/>
              <a:gd name="connsiteY13" fmla="*/ 205359 h 229519"/>
              <a:gd name="connsiteX14" fmla="*/ 24160 w 330330"/>
              <a:gd name="connsiteY14" fmla="*/ 205359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0330" h="229519">
                <a:moveTo>
                  <a:pt x="0" y="0"/>
                </a:moveTo>
                <a:lnTo>
                  <a:pt x="0" y="229519"/>
                </a:lnTo>
                <a:lnTo>
                  <a:pt x="330331" y="229519"/>
                </a:lnTo>
                <a:lnTo>
                  <a:pt x="330331" y="0"/>
                </a:lnTo>
                <a:lnTo>
                  <a:pt x="0" y="0"/>
                </a:lnTo>
                <a:close/>
                <a:moveTo>
                  <a:pt x="289017" y="24160"/>
                </a:moveTo>
                <a:lnTo>
                  <a:pt x="164954" y="147919"/>
                </a:lnTo>
                <a:lnTo>
                  <a:pt x="41254" y="24160"/>
                </a:lnTo>
                <a:lnTo>
                  <a:pt x="289017" y="24160"/>
                </a:lnTo>
                <a:close/>
                <a:moveTo>
                  <a:pt x="24160" y="205359"/>
                </a:moveTo>
                <a:lnTo>
                  <a:pt x="24160" y="41253"/>
                </a:lnTo>
                <a:lnTo>
                  <a:pt x="164954" y="182045"/>
                </a:lnTo>
                <a:lnTo>
                  <a:pt x="306170" y="41193"/>
                </a:lnTo>
                <a:lnTo>
                  <a:pt x="306170" y="205359"/>
                </a:lnTo>
                <a:lnTo>
                  <a:pt x="24160" y="205359"/>
                </a:lnTo>
                <a:close/>
              </a:path>
            </a:pathLst>
          </a:custGeom>
          <a:solidFill>
            <a:srgbClr val="000000"/>
          </a:solidFill>
          <a:ln w="59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" name="Graphic 22">
            <a:extLst>
              <a:ext uri="{FF2B5EF4-FFF2-40B4-BE49-F238E27FC236}">
                <a16:creationId xmlns:a16="http://schemas.microsoft.com/office/drawing/2014/main" id="{656D5B70-625D-44C1-B425-179799BC1610}"/>
              </a:ext>
            </a:extLst>
          </p:cNvPr>
          <p:cNvGrpSpPr/>
          <p:nvPr/>
        </p:nvGrpSpPr>
        <p:grpSpPr>
          <a:xfrm>
            <a:off x="464332" y="5626540"/>
            <a:ext cx="323744" cy="286898"/>
            <a:chOff x="464332" y="5626540"/>
            <a:chExt cx="323744" cy="286898"/>
          </a:xfrm>
        </p:grpSpPr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id="{E7D07824-EFEA-463D-B9B4-EE0767D470A4}"/>
                </a:ext>
              </a:extLst>
            </p:cNvPr>
            <p:cNvSpPr/>
            <p:nvPr/>
          </p:nvSpPr>
          <p:spPr>
            <a:xfrm>
              <a:off x="464332" y="5626540"/>
              <a:ext cx="323925" cy="286596"/>
            </a:xfrm>
            <a:custGeom>
              <a:avLst/>
              <a:gdLst>
                <a:gd name="connsiteX0" fmla="*/ 0 w 323925"/>
                <a:gd name="connsiteY0" fmla="*/ 0 h 286596"/>
                <a:gd name="connsiteX1" fmla="*/ 0 w 323925"/>
                <a:gd name="connsiteY1" fmla="*/ 286596 h 286596"/>
                <a:gd name="connsiteX2" fmla="*/ 323925 w 323925"/>
                <a:gd name="connsiteY2" fmla="*/ 286596 h 286596"/>
                <a:gd name="connsiteX3" fmla="*/ 323925 w 323925"/>
                <a:gd name="connsiteY3" fmla="*/ 0 h 286596"/>
                <a:gd name="connsiteX4" fmla="*/ 0 w 323925"/>
                <a:gd name="connsiteY4" fmla="*/ 0 h 286596"/>
                <a:gd name="connsiteX5" fmla="*/ 299765 w 323925"/>
                <a:gd name="connsiteY5" fmla="*/ 24160 h 286596"/>
                <a:gd name="connsiteX6" fmla="*/ 299765 w 323925"/>
                <a:gd name="connsiteY6" fmla="*/ 71272 h 286596"/>
                <a:gd name="connsiteX7" fmla="*/ 24160 w 323925"/>
                <a:gd name="connsiteY7" fmla="*/ 71272 h 286596"/>
                <a:gd name="connsiteX8" fmla="*/ 24160 w 323925"/>
                <a:gd name="connsiteY8" fmla="*/ 24160 h 286596"/>
                <a:gd name="connsiteX9" fmla="*/ 299765 w 323925"/>
                <a:gd name="connsiteY9" fmla="*/ 24160 h 286596"/>
                <a:gd name="connsiteX10" fmla="*/ 24160 w 323925"/>
                <a:gd name="connsiteY10" fmla="*/ 262436 h 286596"/>
                <a:gd name="connsiteX11" fmla="*/ 24160 w 323925"/>
                <a:gd name="connsiteY11" fmla="*/ 95431 h 286596"/>
                <a:gd name="connsiteX12" fmla="*/ 299765 w 323925"/>
                <a:gd name="connsiteY12" fmla="*/ 95431 h 286596"/>
                <a:gd name="connsiteX13" fmla="*/ 299765 w 323925"/>
                <a:gd name="connsiteY13" fmla="*/ 262436 h 286596"/>
                <a:gd name="connsiteX14" fmla="*/ 24160 w 323925"/>
                <a:gd name="connsiteY14" fmla="*/ 262436 h 28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925" h="286596">
                  <a:moveTo>
                    <a:pt x="0" y="0"/>
                  </a:moveTo>
                  <a:lnTo>
                    <a:pt x="0" y="286596"/>
                  </a:lnTo>
                  <a:lnTo>
                    <a:pt x="323925" y="286596"/>
                  </a:lnTo>
                  <a:lnTo>
                    <a:pt x="323925" y="0"/>
                  </a:lnTo>
                  <a:lnTo>
                    <a:pt x="0" y="0"/>
                  </a:lnTo>
                  <a:close/>
                  <a:moveTo>
                    <a:pt x="299765" y="24160"/>
                  </a:moveTo>
                  <a:lnTo>
                    <a:pt x="299765" y="71272"/>
                  </a:lnTo>
                  <a:lnTo>
                    <a:pt x="24160" y="71272"/>
                  </a:lnTo>
                  <a:lnTo>
                    <a:pt x="24160" y="24160"/>
                  </a:lnTo>
                  <a:lnTo>
                    <a:pt x="299765" y="24160"/>
                  </a:lnTo>
                  <a:close/>
                  <a:moveTo>
                    <a:pt x="24160" y="262436"/>
                  </a:moveTo>
                  <a:lnTo>
                    <a:pt x="24160" y="95431"/>
                  </a:lnTo>
                  <a:lnTo>
                    <a:pt x="299765" y="95431"/>
                  </a:lnTo>
                  <a:lnTo>
                    <a:pt x="299765" y="262436"/>
                  </a:lnTo>
                  <a:lnTo>
                    <a:pt x="24160" y="262436"/>
                  </a:ln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E1FE9B8D-6E51-47E0-AEA1-D581817F94B2}"/>
                </a:ext>
              </a:extLst>
            </p:cNvPr>
            <p:cNvSpPr/>
            <p:nvPr/>
          </p:nvSpPr>
          <p:spPr>
            <a:xfrm>
              <a:off x="506974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82F2B52B-7550-4A94-86CC-1103FF94C9F2}"/>
                </a:ext>
              </a:extLst>
            </p:cNvPr>
            <p:cNvSpPr/>
            <p:nvPr/>
          </p:nvSpPr>
          <p:spPr>
            <a:xfrm>
              <a:off x="554690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0A91FDD-08CB-475D-BE05-05E733FC0E41}"/>
                </a:ext>
              </a:extLst>
            </p:cNvPr>
            <p:cNvSpPr/>
            <p:nvPr/>
          </p:nvSpPr>
          <p:spPr>
            <a:xfrm>
              <a:off x="602406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40150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 Contacts (5 text bo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799EDD7A-BB34-46D7-8F7A-856A2D9A72A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8991" y="4876671"/>
            <a:ext cx="4138829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hon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8AF9379-F1CB-4482-9469-E32874EC69D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8990" y="5667217"/>
            <a:ext cx="4138829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marL="228600" lvl="0" indent="-228600"/>
            <a:r>
              <a:rPr lang="en-US" dirty="0"/>
              <a:t>E-mail</a:t>
            </a:r>
          </a:p>
        </p:txBody>
      </p:sp>
      <p:cxnSp>
        <p:nvCxnSpPr>
          <p:cNvPr id="29" name="Straight Connector 6">
            <a:extLst>
              <a:ext uri="{FF2B5EF4-FFF2-40B4-BE49-F238E27FC236}">
                <a16:creationId xmlns:a16="http://schemas.microsoft.com/office/drawing/2014/main" id="{C12BA264-7AFC-46B9-A63D-B9CE6F1E89F0}"/>
              </a:ext>
            </a:extLst>
          </p:cNvPr>
          <p:cNvCxnSpPr>
            <a:cxnSpLocks/>
          </p:cNvCxnSpPr>
          <p:nvPr userDrawn="1"/>
        </p:nvCxnSpPr>
        <p:spPr>
          <a:xfrm>
            <a:off x="472307" y="4621645"/>
            <a:ext cx="4745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4">
            <a:extLst>
              <a:ext uri="{FF2B5EF4-FFF2-40B4-BE49-F238E27FC236}">
                <a16:creationId xmlns:a16="http://schemas.microsoft.com/office/drawing/2014/main" id="{EF614C75-DC8A-41C9-96BD-6EB2E1F7F12D}"/>
              </a:ext>
            </a:extLst>
          </p:cNvPr>
          <p:cNvCxnSpPr>
            <a:cxnSpLocks/>
          </p:cNvCxnSpPr>
          <p:nvPr userDrawn="1"/>
        </p:nvCxnSpPr>
        <p:spPr>
          <a:xfrm>
            <a:off x="472307" y="5438313"/>
            <a:ext cx="4745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4">
            <a:extLst>
              <a:ext uri="{FF2B5EF4-FFF2-40B4-BE49-F238E27FC236}">
                <a16:creationId xmlns:a16="http://schemas.microsoft.com/office/drawing/2014/main" id="{7036DDD2-C3AA-42D9-BCB7-B7DF4139EBAD}"/>
              </a:ext>
            </a:extLst>
          </p:cNvPr>
          <p:cNvCxnSpPr>
            <a:cxnSpLocks/>
          </p:cNvCxnSpPr>
          <p:nvPr userDrawn="1"/>
        </p:nvCxnSpPr>
        <p:spPr>
          <a:xfrm>
            <a:off x="472307" y="3036480"/>
            <a:ext cx="4745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5">
            <a:extLst>
              <a:ext uri="{FF2B5EF4-FFF2-40B4-BE49-F238E27FC236}">
                <a16:creationId xmlns:a16="http://schemas.microsoft.com/office/drawing/2014/main" id="{0613516D-5698-450A-994F-CA254B4EC62A}"/>
              </a:ext>
            </a:extLst>
          </p:cNvPr>
          <p:cNvCxnSpPr>
            <a:cxnSpLocks/>
          </p:cNvCxnSpPr>
          <p:nvPr userDrawn="1"/>
        </p:nvCxnSpPr>
        <p:spPr>
          <a:xfrm>
            <a:off x="472307" y="3803345"/>
            <a:ext cx="4745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BFBE4325-D9EF-4190-96C7-F7B9B006A9F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78990" y="4086126"/>
            <a:ext cx="4138829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marL="144000" lvl="0" indent="-144000">
              <a:lnSpc>
                <a:spcPct val="100000"/>
              </a:lnSpc>
            </a:pPr>
            <a:r>
              <a:rPr lang="en-US" dirty="0"/>
              <a:t>Division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52FCCBE5-E3B5-42F8-956D-91D0103B315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78990" y="3295581"/>
            <a:ext cx="4138829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E539423-0E10-4E4F-B7BC-4B30352956E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078990" y="2505036"/>
            <a:ext cx="4138829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pic>
        <p:nvPicPr>
          <p:cNvPr id="47" name="Graphic 23">
            <a:extLst>
              <a:ext uri="{FF2B5EF4-FFF2-40B4-BE49-F238E27FC236}">
                <a16:creationId xmlns:a16="http://schemas.microsoft.com/office/drawing/2014/main" id="{9EF6EAE5-4799-4E68-AEFA-3A667381FE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grpSp>
        <p:nvGrpSpPr>
          <p:cNvPr id="3" name="Graphic 44">
            <a:extLst>
              <a:ext uri="{FF2B5EF4-FFF2-40B4-BE49-F238E27FC236}">
                <a16:creationId xmlns:a16="http://schemas.microsoft.com/office/drawing/2014/main" id="{61E9F31F-B251-4668-9DA7-ACD474A0C9DF}"/>
              </a:ext>
            </a:extLst>
          </p:cNvPr>
          <p:cNvGrpSpPr/>
          <p:nvPr/>
        </p:nvGrpSpPr>
        <p:grpSpPr>
          <a:xfrm>
            <a:off x="485030" y="2459918"/>
            <a:ext cx="294965" cy="336457"/>
            <a:chOff x="485030" y="2459918"/>
            <a:chExt cx="294965" cy="336457"/>
          </a:xfrm>
        </p:grpSpPr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263D7A02-CDAD-4D36-95F2-D44B7BBE8EAF}"/>
                </a:ext>
              </a:extLst>
            </p:cNvPr>
            <p:cNvSpPr/>
            <p:nvPr/>
          </p:nvSpPr>
          <p:spPr>
            <a:xfrm>
              <a:off x="533169" y="2459918"/>
              <a:ext cx="198285" cy="184865"/>
            </a:xfrm>
            <a:custGeom>
              <a:avLst/>
              <a:gdLst>
                <a:gd name="connsiteX0" fmla="*/ 99143 w 198285"/>
                <a:gd name="connsiteY0" fmla="*/ 24831 h 184865"/>
                <a:gd name="connsiteX1" fmla="*/ 150412 w 198285"/>
                <a:gd name="connsiteY1" fmla="*/ 44633 h 184865"/>
                <a:gd name="connsiteX2" fmla="*/ 171652 w 198285"/>
                <a:gd name="connsiteY2" fmla="*/ 92433 h 184865"/>
                <a:gd name="connsiteX3" fmla="*/ 150412 w 198285"/>
                <a:gd name="connsiteY3" fmla="*/ 140232 h 184865"/>
                <a:gd name="connsiteX4" fmla="*/ 99143 w 198285"/>
                <a:gd name="connsiteY4" fmla="*/ 160034 h 184865"/>
                <a:gd name="connsiteX5" fmla="*/ 47874 w 198285"/>
                <a:gd name="connsiteY5" fmla="*/ 140232 h 184865"/>
                <a:gd name="connsiteX6" fmla="*/ 26633 w 198285"/>
                <a:gd name="connsiteY6" fmla="*/ 92433 h 184865"/>
                <a:gd name="connsiteX7" fmla="*/ 47874 w 198285"/>
                <a:gd name="connsiteY7" fmla="*/ 44633 h 184865"/>
                <a:gd name="connsiteX8" fmla="*/ 99143 w 198285"/>
                <a:gd name="connsiteY8" fmla="*/ 24831 h 184865"/>
                <a:gd name="connsiteX9" fmla="*/ 99143 w 198285"/>
                <a:gd name="connsiteY9" fmla="*/ 0 h 184865"/>
                <a:gd name="connsiteX10" fmla="*/ 0 w 198285"/>
                <a:gd name="connsiteY10" fmla="*/ 92433 h 184865"/>
                <a:gd name="connsiteX11" fmla="*/ 99143 w 198285"/>
                <a:gd name="connsiteY11" fmla="*/ 184865 h 184865"/>
                <a:gd name="connsiteX12" fmla="*/ 198286 w 198285"/>
                <a:gd name="connsiteY12" fmla="*/ 92433 h 184865"/>
                <a:gd name="connsiteX13" fmla="*/ 99143 w 198285"/>
                <a:gd name="connsiteY13" fmla="*/ 0 h 184865"/>
                <a:gd name="connsiteX14" fmla="*/ 99143 w 198285"/>
                <a:gd name="connsiteY14" fmla="*/ 0 h 18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285" h="184865">
                  <a:moveTo>
                    <a:pt x="99143" y="24831"/>
                  </a:moveTo>
                  <a:cubicBezTo>
                    <a:pt x="118519" y="24831"/>
                    <a:pt x="136696" y="31845"/>
                    <a:pt x="150412" y="44633"/>
                  </a:cubicBezTo>
                  <a:cubicBezTo>
                    <a:pt x="164128" y="57421"/>
                    <a:pt x="171652" y="74368"/>
                    <a:pt x="171652" y="92433"/>
                  </a:cubicBezTo>
                  <a:cubicBezTo>
                    <a:pt x="171652" y="110497"/>
                    <a:pt x="164128" y="127444"/>
                    <a:pt x="150412" y="140232"/>
                  </a:cubicBezTo>
                  <a:cubicBezTo>
                    <a:pt x="136696" y="153020"/>
                    <a:pt x="118519" y="160034"/>
                    <a:pt x="99143" y="160034"/>
                  </a:cubicBezTo>
                  <a:cubicBezTo>
                    <a:pt x="79767" y="160034"/>
                    <a:pt x="61590" y="153020"/>
                    <a:pt x="47874" y="140232"/>
                  </a:cubicBezTo>
                  <a:cubicBezTo>
                    <a:pt x="34157" y="127444"/>
                    <a:pt x="26633" y="110497"/>
                    <a:pt x="26633" y="92433"/>
                  </a:cubicBezTo>
                  <a:cubicBezTo>
                    <a:pt x="26633" y="74368"/>
                    <a:pt x="34157" y="57421"/>
                    <a:pt x="47874" y="44633"/>
                  </a:cubicBezTo>
                  <a:cubicBezTo>
                    <a:pt x="61590" y="31845"/>
                    <a:pt x="79767" y="24831"/>
                    <a:pt x="99143" y="24831"/>
                  </a:cubicBezTo>
                  <a:moveTo>
                    <a:pt x="99143" y="0"/>
                  </a:moveTo>
                  <a:cubicBezTo>
                    <a:pt x="44411" y="0"/>
                    <a:pt x="0" y="41405"/>
                    <a:pt x="0" y="92433"/>
                  </a:cubicBezTo>
                  <a:cubicBezTo>
                    <a:pt x="0" y="143460"/>
                    <a:pt x="44411" y="184865"/>
                    <a:pt x="99143" y="184865"/>
                  </a:cubicBezTo>
                  <a:cubicBezTo>
                    <a:pt x="153875" y="184865"/>
                    <a:pt x="198286" y="143460"/>
                    <a:pt x="198286" y="92433"/>
                  </a:cubicBezTo>
                  <a:cubicBezTo>
                    <a:pt x="198286" y="41405"/>
                    <a:pt x="153941" y="0"/>
                    <a:pt x="99143" y="0"/>
                  </a:cubicBezTo>
                  <a:lnTo>
                    <a:pt x="9914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id="{BDE5C2A9-DDF4-4B4D-AB1C-45E7DFA06C62}"/>
                </a:ext>
              </a:extLst>
            </p:cNvPr>
            <p:cNvSpPr/>
            <p:nvPr/>
          </p:nvSpPr>
          <p:spPr>
            <a:xfrm>
              <a:off x="485030" y="2658812"/>
              <a:ext cx="294632" cy="137314"/>
            </a:xfrm>
            <a:custGeom>
              <a:avLst/>
              <a:gdLst>
                <a:gd name="connsiteX0" fmla="*/ 147283 w 294632"/>
                <a:gd name="connsiteY0" fmla="*/ 24831 h 137314"/>
                <a:gd name="connsiteX1" fmla="*/ 232576 w 294632"/>
                <a:gd name="connsiteY1" fmla="*/ 57794 h 137314"/>
                <a:gd name="connsiteX2" fmla="*/ 265002 w 294632"/>
                <a:gd name="connsiteY2" fmla="*/ 112483 h 137314"/>
                <a:gd name="connsiteX3" fmla="*/ 29563 w 294632"/>
                <a:gd name="connsiteY3" fmla="*/ 112483 h 137314"/>
                <a:gd name="connsiteX4" fmla="*/ 61989 w 294632"/>
                <a:gd name="connsiteY4" fmla="*/ 57794 h 137314"/>
                <a:gd name="connsiteX5" fmla="*/ 147283 w 294632"/>
                <a:gd name="connsiteY5" fmla="*/ 24831 h 137314"/>
                <a:gd name="connsiteX6" fmla="*/ 147283 w 294632"/>
                <a:gd name="connsiteY6" fmla="*/ 0 h 137314"/>
                <a:gd name="connsiteX7" fmla="*/ 0 w 294632"/>
                <a:gd name="connsiteY7" fmla="*/ 137314 h 137314"/>
                <a:gd name="connsiteX8" fmla="*/ 294632 w 294632"/>
                <a:gd name="connsiteY8" fmla="*/ 137314 h 137314"/>
                <a:gd name="connsiteX9" fmla="*/ 147283 w 294632"/>
                <a:gd name="connsiteY9" fmla="*/ 0 h 137314"/>
                <a:gd name="connsiteX10" fmla="*/ 147283 w 294632"/>
                <a:gd name="connsiteY10" fmla="*/ 0 h 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632" h="137314">
                  <a:moveTo>
                    <a:pt x="147283" y="24831"/>
                  </a:moveTo>
                  <a:cubicBezTo>
                    <a:pt x="179509" y="24831"/>
                    <a:pt x="209805" y="36563"/>
                    <a:pt x="232576" y="57794"/>
                  </a:cubicBezTo>
                  <a:cubicBezTo>
                    <a:pt x="248956" y="73065"/>
                    <a:pt x="260009" y="91936"/>
                    <a:pt x="265002" y="112483"/>
                  </a:cubicBezTo>
                  <a:lnTo>
                    <a:pt x="29563" y="112483"/>
                  </a:lnTo>
                  <a:cubicBezTo>
                    <a:pt x="34490" y="91936"/>
                    <a:pt x="45610" y="73002"/>
                    <a:pt x="61989" y="57794"/>
                  </a:cubicBezTo>
                  <a:cubicBezTo>
                    <a:pt x="84761" y="36501"/>
                    <a:pt x="115056" y="24831"/>
                    <a:pt x="147283" y="24831"/>
                  </a:cubicBezTo>
                  <a:moveTo>
                    <a:pt x="147283" y="0"/>
                  </a:moveTo>
                  <a:cubicBezTo>
                    <a:pt x="65918" y="0"/>
                    <a:pt x="0" y="61456"/>
                    <a:pt x="0" y="137314"/>
                  </a:cubicBezTo>
                  <a:lnTo>
                    <a:pt x="294632" y="137314"/>
                  </a:lnTo>
                  <a:cubicBezTo>
                    <a:pt x="294632" y="61456"/>
                    <a:pt x="228648" y="0"/>
                    <a:pt x="147283" y="0"/>
                  </a:cubicBezTo>
                  <a:lnTo>
                    <a:pt x="14728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6" name="Graphic 47">
            <a:extLst>
              <a:ext uri="{FF2B5EF4-FFF2-40B4-BE49-F238E27FC236}">
                <a16:creationId xmlns:a16="http://schemas.microsoft.com/office/drawing/2014/main" id="{15C2B940-2661-4887-99A4-69E6114A907A}"/>
              </a:ext>
            </a:extLst>
          </p:cNvPr>
          <p:cNvSpPr/>
          <p:nvPr/>
        </p:nvSpPr>
        <p:spPr>
          <a:xfrm>
            <a:off x="463181" y="3276585"/>
            <a:ext cx="338600" cy="286778"/>
          </a:xfrm>
          <a:custGeom>
            <a:avLst/>
            <a:gdLst>
              <a:gd name="connsiteX0" fmla="*/ 248022 w 338600"/>
              <a:gd name="connsiteY0" fmla="*/ 51511 h 286778"/>
              <a:gd name="connsiteX1" fmla="*/ 248022 w 338600"/>
              <a:gd name="connsiteY1" fmla="*/ 0 h 286778"/>
              <a:gd name="connsiteX2" fmla="*/ 90516 w 338600"/>
              <a:gd name="connsiteY2" fmla="*/ 0 h 286778"/>
              <a:gd name="connsiteX3" fmla="*/ 90516 w 338600"/>
              <a:gd name="connsiteY3" fmla="*/ 51511 h 286778"/>
              <a:gd name="connsiteX4" fmla="*/ 0 w 338600"/>
              <a:gd name="connsiteY4" fmla="*/ 51511 h 286778"/>
              <a:gd name="connsiteX5" fmla="*/ 0 w 338600"/>
              <a:gd name="connsiteY5" fmla="*/ 286779 h 286778"/>
              <a:gd name="connsiteX6" fmla="*/ 338600 w 338600"/>
              <a:gd name="connsiteY6" fmla="*/ 286779 h 286778"/>
              <a:gd name="connsiteX7" fmla="*/ 338600 w 338600"/>
              <a:gd name="connsiteY7" fmla="*/ 51511 h 286778"/>
              <a:gd name="connsiteX8" fmla="*/ 248022 w 338600"/>
              <a:gd name="connsiteY8" fmla="*/ 51511 h 286778"/>
              <a:gd name="connsiteX9" fmla="*/ 115281 w 338600"/>
              <a:gd name="connsiteY9" fmla="*/ 24765 h 286778"/>
              <a:gd name="connsiteX10" fmla="*/ 223257 w 338600"/>
              <a:gd name="connsiteY10" fmla="*/ 24765 h 286778"/>
              <a:gd name="connsiteX11" fmla="*/ 223257 w 338600"/>
              <a:gd name="connsiteY11" fmla="*/ 51511 h 286778"/>
              <a:gd name="connsiteX12" fmla="*/ 115281 w 338600"/>
              <a:gd name="connsiteY12" fmla="*/ 51511 h 286778"/>
              <a:gd name="connsiteX13" fmla="*/ 115281 w 338600"/>
              <a:gd name="connsiteY13" fmla="*/ 24765 h 286778"/>
              <a:gd name="connsiteX14" fmla="*/ 313835 w 338600"/>
              <a:gd name="connsiteY14" fmla="*/ 262014 h 286778"/>
              <a:gd name="connsiteX15" fmla="*/ 24765 w 338600"/>
              <a:gd name="connsiteY15" fmla="*/ 262014 h 286778"/>
              <a:gd name="connsiteX16" fmla="*/ 24765 w 338600"/>
              <a:gd name="connsiteY16" fmla="*/ 76276 h 286778"/>
              <a:gd name="connsiteX17" fmla="*/ 90516 w 338600"/>
              <a:gd name="connsiteY17" fmla="*/ 76276 h 286778"/>
              <a:gd name="connsiteX18" fmla="*/ 248022 w 338600"/>
              <a:gd name="connsiteY18" fmla="*/ 76276 h 286778"/>
              <a:gd name="connsiteX19" fmla="*/ 313773 w 338600"/>
              <a:gd name="connsiteY19" fmla="*/ 76276 h 286778"/>
              <a:gd name="connsiteX20" fmla="*/ 313773 w 338600"/>
              <a:gd name="connsiteY20" fmla="*/ 262014 h 28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8600" h="286778">
                <a:moveTo>
                  <a:pt x="248022" y="51511"/>
                </a:moveTo>
                <a:lnTo>
                  <a:pt x="248022" y="0"/>
                </a:lnTo>
                <a:lnTo>
                  <a:pt x="90516" y="0"/>
                </a:lnTo>
                <a:lnTo>
                  <a:pt x="90516" y="51511"/>
                </a:lnTo>
                <a:lnTo>
                  <a:pt x="0" y="51511"/>
                </a:lnTo>
                <a:lnTo>
                  <a:pt x="0" y="286779"/>
                </a:lnTo>
                <a:lnTo>
                  <a:pt x="338600" y="286779"/>
                </a:lnTo>
                <a:lnTo>
                  <a:pt x="338600" y="51511"/>
                </a:lnTo>
                <a:lnTo>
                  <a:pt x="248022" y="51511"/>
                </a:lnTo>
                <a:close/>
                <a:moveTo>
                  <a:pt x="115281" y="24765"/>
                </a:moveTo>
                <a:lnTo>
                  <a:pt x="223257" y="24765"/>
                </a:lnTo>
                <a:lnTo>
                  <a:pt x="223257" y="51511"/>
                </a:lnTo>
                <a:lnTo>
                  <a:pt x="115281" y="51511"/>
                </a:lnTo>
                <a:lnTo>
                  <a:pt x="115281" y="24765"/>
                </a:lnTo>
                <a:close/>
                <a:moveTo>
                  <a:pt x="313835" y="262014"/>
                </a:moveTo>
                <a:lnTo>
                  <a:pt x="24765" y="262014"/>
                </a:lnTo>
                <a:lnTo>
                  <a:pt x="24765" y="76276"/>
                </a:lnTo>
                <a:lnTo>
                  <a:pt x="90516" y="76276"/>
                </a:lnTo>
                <a:lnTo>
                  <a:pt x="248022" y="76276"/>
                </a:lnTo>
                <a:lnTo>
                  <a:pt x="313773" y="76276"/>
                </a:lnTo>
                <a:lnTo>
                  <a:pt x="313773" y="262014"/>
                </a:lnTo>
                <a:close/>
              </a:path>
            </a:pathLst>
          </a:custGeom>
          <a:solidFill>
            <a:srgbClr val="010101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7" name="Graphic 48">
            <a:extLst>
              <a:ext uri="{FF2B5EF4-FFF2-40B4-BE49-F238E27FC236}">
                <a16:creationId xmlns:a16="http://schemas.microsoft.com/office/drawing/2014/main" id="{EA7A15E5-C7D6-43EC-8732-326E1D7C19D9}"/>
              </a:ext>
            </a:extLst>
          </p:cNvPr>
          <p:cNvGrpSpPr/>
          <p:nvPr/>
        </p:nvGrpSpPr>
        <p:grpSpPr>
          <a:xfrm>
            <a:off x="525021" y="4043450"/>
            <a:ext cx="214982" cy="338090"/>
            <a:chOff x="525021" y="4043450"/>
            <a:chExt cx="214982" cy="338090"/>
          </a:xfrm>
          <a:solidFill>
            <a:srgbClr val="000000"/>
          </a:solidFill>
        </p:grpSpPr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C812D86B-EA64-4089-9EA6-C8F0D69068F4}"/>
                </a:ext>
              </a:extLst>
            </p:cNvPr>
            <p:cNvSpPr/>
            <p:nvPr/>
          </p:nvSpPr>
          <p:spPr>
            <a:xfrm>
              <a:off x="525021" y="4043450"/>
              <a:ext cx="214982" cy="338090"/>
            </a:xfrm>
            <a:custGeom>
              <a:avLst/>
              <a:gdLst>
                <a:gd name="connsiteX0" fmla="*/ 0 w 214982"/>
                <a:gd name="connsiteY0" fmla="*/ 0 h 338090"/>
                <a:gd name="connsiteX1" fmla="*/ 0 w 214982"/>
                <a:gd name="connsiteY1" fmla="*/ 338090 h 338090"/>
                <a:gd name="connsiteX2" fmla="*/ 61248 w 214982"/>
                <a:gd name="connsiteY2" fmla="*/ 338090 h 338090"/>
                <a:gd name="connsiteX3" fmla="*/ 153734 w 214982"/>
                <a:gd name="connsiteY3" fmla="*/ 338090 h 338090"/>
                <a:gd name="connsiteX4" fmla="*/ 214982 w 214982"/>
                <a:gd name="connsiteY4" fmla="*/ 338090 h 338090"/>
                <a:gd name="connsiteX5" fmla="*/ 214982 w 214982"/>
                <a:gd name="connsiteY5" fmla="*/ 0 h 338090"/>
                <a:gd name="connsiteX6" fmla="*/ 0 w 214982"/>
                <a:gd name="connsiteY6" fmla="*/ 0 h 338090"/>
                <a:gd name="connsiteX7" fmla="*/ 85748 w 214982"/>
                <a:gd name="connsiteY7" fmla="*/ 313591 h 338090"/>
                <a:gd name="connsiteX8" fmla="*/ 85748 w 214982"/>
                <a:gd name="connsiteY8" fmla="*/ 225577 h 338090"/>
                <a:gd name="connsiteX9" fmla="*/ 129234 w 214982"/>
                <a:gd name="connsiteY9" fmla="*/ 225577 h 338090"/>
                <a:gd name="connsiteX10" fmla="*/ 129234 w 214982"/>
                <a:gd name="connsiteY10" fmla="*/ 313591 h 338090"/>
                <a:gd name="connsiteX11" fmla="*/ 85748 w 214982"/>
                <a:gd name="connsiteY11" fmla="*/ 313591 h 338090"/>
                <a:gd name="connsiteX12" fmla="*/ 190483 w 214982"/>
                <a:gd name="connsiteY12" fmla="*/ 313591 h 338090"/>
                <a:gd name="connsiteX13" fmla="*/ 153734 w 214982"/>
                <a:gd name="connsiteY13" fmla="*/ 313591 h 338090"/>
                <a:gd name="connsiteX14" fmla="*/ 153734 w 214982"/>
                <a:gd name="connsiteY14" fmla="*/ 201078 h 338090"/>
                <a:gd name="connsiteX15" fmla="*/ 61248 w 214982"/>
                <a:gd name="connsiteY15" fmla="*/ 201078 h 338090"/>
                <a:gd name="connsiteX16" fmla="*/ 61248 w 214982"/>
                <a:gd name="connsiteY16" fmla="*/ 313591 h 338090"/>
                <a:gd name="connsiteX17" fmla="*/ 24499 w 214982"/>
                <a:gd name="connsiteY17" fmla="*/ 313591 h 338090"/>
                <a:gd name="connsiteX18" fmla="*/ 24499 w 214982"/>
                <a:gd name="connsiteY18" fmla="*/ 24499 h 338090"/>
                <a:gd name="connsiteX19" fmla="*/ 190483 w 214982"/>
                <a:gd name="connsiteY19" fmla="*/ 24499 h 338090"/>
                <a:gd name="connsiteX20" fmla="*/ 190483 w 214982"/>
                <a:gd name="connsiteY20" fmla="*/ 313591 h 3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982" h="338090">
                  <a:moveTo>
                    <a:pt x="0" y="0"/>
                  </a:moveTo>
                  <a:lnTo>
                    <a:pt x="0" y="338090"/>
                  </a:lnTo>
                  <a:lnTo>
                    <a:pt x="61248" y="338090"/>
                  </a:lnTo>
                  <a:lnTo>
                    <a:pt x="153734" y="338090"/>
                  </a:lnTo>
                  <a:lnTo>
                    <a:pt x="214982" y="338090"/>
                  </a:lnTo>
                  <a:lnTo>
                    <a:pt x="214982" y="0"/>
                  </a:lnTo>
                  <a:lnTo>
                    <a:pt x="0" y="0"/>
                  </a:lnTo>
                  <a:close/>
                  <a:moveTo>
                    <a:pt x="85748" y="313591"/>
                  </a:moveTo>
                  <a:lnTo>
                    <a:pt x="85748" y="225577"/>
                  </a:lnTo>
                  <a:lnTo>
                    <a:pt x="129234" y="225577"/>
                  </a:lnTo>
                  <a:lnTo>
                    <a:pt x="129234" y="313591"/>
                  </a:lnTo>
                  <a:lnTo>
                    <a:pt x="85748" y="313591"/>
                  </a:lnTo>
                  <a:close/>
                  <a:moveTo>
                    <a:pt x="190483" y="313591"/>
                  </a:moveTo>
                  <a:lnTo>
                    <a:pt x="153734" y="313591"/>
                  </a:lnTo>
                  <a:lnTo>
                    <a:pt x="153734" y="201078"/>
                  </a:lnTo>
                  <a:lnTo>
                    <a:pt x="61248" y="201078"/>
                  </a:lnTo>
                  <a:lnTo>
                    <a:pt x="61248" y="313591"/>
                  </a:lnTo>
                  <a:lnTo>
                    <a:pt x="24499" y="313591"/>
                  </a:lnTo>
                  <a:lnTo>
                    <a:pt x="24499" y="24499"/>
                  </a:lnTo>
                  <a:lnTo>
                    <a:pt x="190483" y="24499"/>
                  </a:lnTo>
                  <a:lnTo>
                    <a:pt x="190483" y="313591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238C8F49-95B6-4DCF-9D3E-144091C98B63}"/>
                </a:ext>
              </a:extLst>
            </p:cNvPr>
            <p:cNvSpPr/>
            <p:nvPr/>
          </p:nvSpPr>
          <p:spPr>
            <a:xfrm>
              <a:off x="586330" y="4190629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A805A0D-042B-4B51-B6C9-FAF557A47987}"/>
                </a:ext>
              </a:extLst>
            </p:cNvPr>
            <p:cNvSpPr/>
            <p:nvPr/>
          </p:nvSpPr>
          <p:spPr>
            <a:xfrm>
              <a:off x="586330" y="4144387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B0B7DF00-0BE5-4A2C-89D3-C4C6E0433EC4}"/>
                </a:ext>
              </a:extLst>
            </p:cNvPr>
            <p:cNvSpPr/>
            <p:nvPr/>
          </p:nvSpPr>
          <p:spPr>
            <a:xfrm>
              <a:off x="586330" y="4098144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" name="Graphic 20">
            <a:extLst>
              <a:ext uri="{FF2B5EF4-FFF2-40B4-BE49-F238E27FC236}">
                <a16:creationId xmlns:a16="http://schemas.microsoft.com/office/drawing/2014/main" id="{782D79F3-214B-42D2-855F-7996EC226771}"/>
              </a:ext>
            </a:extLst>
          </p:cNvPr>
          <p:cNvSpPr/>
          <p:nvPr/>
        </p:nvSpPr>
        <p:spPr>
          <a:xfrm>
            <a:off x="525540" y="4861750"/>
            <a:ext cx="213943" cy="336458"/>
          </a:xfrm>
          <a:custGeom>
            <a:avLst/>
            <a:gdLst>
              <a:gd name="connsiteX0" fmla="*/ 0 w 213943"/>
              <a:gd name="connsiteY0" fmla="*/ 0 h 336458"/>
              <a:gd name="connsiteX1" fmla="*/ 0 w 213943"/>
              <a:gd name="connsiteY1" fmla="*/ 336458 h 336458"/>
              <a:gd name="connsiteX2" fmla="*/ 213944 w 213943"/>
              <a:gd name="connsiteY2" fmla="*/ 336458 h 336458"/>
              <a:gd name="connsiteX3" fmla="*/ 213944 w 213943"/>
              <a:gd name="connsiteY3" fmla="*/ 0 h 336458"/>
              <a:gd name="connsiteX4" fmla="*/ 0 w 213943"/>
              <a:gd name="connsiteY4" fmla="*/ 0 h 336458"/>
              <a:gd name="connsiteX5" fmla="*/ 189563 w 213943"/>
              <a:gd name="connsiteY5" fmla="*/ 24381 h 336458"/>
              <a:gd name="connsiteX6" fmla="*/ 189563 w 213943"/>
              <a:gd name="connsiteY6" fmla="*/ 248260 h 336458"/>
              <a:gd name="connsiteX7" fmla="*/ 24381 w 213943"/>
              <a:gd name="connsiteY7" fmla="*/ 248260 h 336458"/>
              <a:gd name="connsiteX8" fmla="*/ 24381 w 213943"/>
              <a:gd name="connsiteY8" fmla="*/ 24381 h 336458"/>
              <a:gd name="connsiteX9" fmla="*/ 189563 w 213943"/>
              <a:gd name="connsiteY9" fmla="*/ 24381 h 336458"/>
              <a:gd name="connsiteX10" fmla="*/ 24381 w 213943"/>
              <a:gd name="connsiteY10" fmla="*/ 312077 h 336458"/>
              <a:gd name="connsiteX11" fmla="*/ 24381 w 213943"/>
              <a:gd name="connsiteY11" fmla="*/ 272641 h 336458"/>
              <a:gd name="connsiteX12" fmla="*/ 189563 w 213943"/>
              <a:gd name="connsiteY12" fmla="*/ 272641 h 336458"/>
              <a:gd name="connsiteX13" fmla="*/ 189563 w 213943"/>
              <a:gd name="connsiteY13" fmla="*/ 312077 h 336458"/>
              <a:gd name="connsiteX14" fmla="*/ 24381 w 213943"/>
              <a:gd name="connsiteY14" fmla="*/ 312077 h 33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3943" h="336458">
                <a:moveTo>
                  <a:pt x="0" y="0"/>
                </a:moveTo>
                <a:lnTo>
                  <a:pt x="0" y="336458"/>
                </a:lnTo>
                <a:lnTo>
                  <a:pt x="213944" y="336458"/>
                </a:lnTo>
                <a:lnTo>
                  <a:pt x="213944" y="0"/>
                </a:lnTo>
                <a:lnTo>
                  <a:pt x="0" y="0"/>
                </a:lnTo>
                <a:close/>
                <a:moveTo>
                  <a:pt x="189563" y="24381"/>
                </a:moveTo>
                <a:lnTo>
                  <a:pt x="189563" y="248260"/>
                </a:lnTo>
                <a:lnTo>
                  <a:pt x="24381" y="248260"/>
                </a:lnTo>
                <a:lnTo>
                  <a:pt x="24381" y="24381"/>
                </a:lnTo>
                <a:lnTo>
                  <a:pt x="189563" y="24381"/>
                </a:lnTo>
                <a:close/>
                <a:moveTo>
                  <a:pt x="24381" y="312077"/>
                </a:moveTo>
                <a:lnTo>
                  <a:pt x="24381" y="272641"/>
                </a:lnTo>
                <a:lnTo>
                  <a:pt x="189563" y="272641"/>
                </a:lnTo>
                <a:lnTo>
                  <a:pt x="189563" y="312077"/>
                </a:lnTo>
                <a:lnTo>
                  <a:pt x="24381" y="312077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Graphic 21">
            <a:extLst>
              <a:ext uri="{FF2B5EF4-FFF2-40B4-BE49-F238E27FC236}">
                <a16:creationId xmlns:a16="http://schemas.microsoft.com/office/drawing/2014/main" id="{B5F6D25D-2D49-418B-8F65-E08DB9D14709}"/>
              </a:ext>
            </a:extLst>
          </p:cNvPr>
          <p:cNvSpPr/>
          <p:nvPr/>
        </p:nvSpPr>
        <p:spPr>
          <a:xfrm>
            <a:off x="465804" y="5674517"/>
            <a:ext cx="333355" cy="231619"/>
          </a:xfrm>
          <a:custGeom>
            <a:avLst/>
            <a:gdLst>
              <a:gd name="connsiteX0" fmla="*/ 0 w 333355"/>
              <a:gd name="connsiteY0" fmla="*/ 0 h 231619"/>
              <a:gd name="connsiteX1" fmla="*/ 0 w 333355"/>
              <a:gd name="connsiteY1" fmla="*/ 231620 h 231619"/>
              <a:gd name="connsiteX2" fmla="*/ 333355 w 333355"/>
              <a:gd name="connsiteY2" fmla="*/ 231620 h 231619"/>
              <a:gd name="connsiteX3" fmla="*/ 333355 w 333355"/>
              <a:gd name="connsiteY3" fmla="*/ 0 h 231619"/>
              <a:gd name="connsiteX4" fmla="*/ 0 w 333355"/>
              <a:gd name="connsiteY4" fmla="*/ 0 h 231619"/>
              <a:gd name="connsiteX5" fmla="*/ 291663 w 333355"/>
              <a:gd name="connsiteY5" fmla="*/ 24381 h 231619"/>
              <a:gd name="connsiteX6" fmla="*/ 166464 w 333355"/>
              <a:gd name="connsiteY6" fmla="*/ 149273 h 231619"/>
              <a:gd name="connsiteX7" fmla="*/ 41631 w 333355"/>
              <a:gd name="connsiteY7" fmla="*/ 24381 h 231619"/>
              <a:gd name="connsiteX8" fmla="*/ 291663 w 333355"/>
              <a:gd name="connsiteY8" fmla="*/ 24381 h 231619"/>
              <a:gd name="connsiteX9" fmla="*/ 24381 w 333355"/>
              <a:gd name="connsiteY9" fmla="*/ 207239 h 231619"/>
              <a:gd name="connsiteX10" fmla="*/ 24381 w 333355"/>
              <a:gd name="connsiteY10" fmla="*/ 41631 h 231619"/>
              <a:gd name="connsiteX11" fmla="*/ 166464 w 333355"/>
              <a:gd name="connsiteY11" fmla="*/ 183711 h 231619"/>
              <a:gd name="connsiteX12" fmla="*/ 308974 w 333355"/>
              <a:gd name="connsiteY12" fmla="*/ 41570 h 231619"/>
              <a:gd name="connsiteX13" fmla="*/ 308974 w 333355"/>
              <a:gd name="connsiteY13" fmla="*/ 207239 h 231619"/>
              <a:gd name="connsiteX14" fmla="*/ 24381 w 333355"/>
              <a:gd name="connsiteY14" fmla="*/ 207239 h 23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3355" h="231619">
                <a:moveTo>
                  <a:pt x="0" y="0"/>
                </a:moveTo>
                <a:lnTo>
                  <a:pt x="0" y="231620"/>
                </a:lnTo>
                <a:lnTo>
                  <a:pt x="333355" y="231620"/>
                </a:lnTo>
                <a:lnTo>
                  <a:pt x="333355" y="0"/>
                </a:lnTo>
                <a:lnTo>
                  <a:pt x="0" y="0"/>
                </a:lnTo>
                <a:close/>
                <a:moveTo>
                  <a:pt x="291663" y="24381"/>
                </a:moveTo>
                <a:lnTo>
                  <a:pt x="166464" y="149273"/>
                </a:lnTo>
                <a:lnTo>
                  <a:pt x="41631" y="24381"/>
                </a:lnTo>
                <a:lnTo>
                  <a:pt x="291663" y="24381"/>
                </a:lnTo>
                <a:close/>
                <a:moveTo>
                  <a:pt x="24381" y="207239"/>
                </a:moveTo>
                <a:lnTo>
                  <a:pt x="24381" y="41631"/>
                </a:lnTo>
                <a:lnTo>
                  <a:pt x="166464" y="183711"/>
                </a:lnTo>
                <a:lnTo>
                  <a:pt x="308974" y="41570"/>
                </a:lnTo>
                <a:lnTo>
                  <a:pt x="308974" y="207239"/>
                </a:lnTo>
                <a:lnTo>
                  <a:pt x="24381" y="207239"/>
                </a:lnTo>
                <a:close/>
              </a:path>
            </a:pathLst>
          </a:custGeom>
          <a:solidFill>
            <a:srgbClr val="000000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39" name="Группа 14">
            <a:extLst>
              <a:ext uri="{FF2B5EF4-FFF2-40B4-BE49-F238E27FC236}">
                <a16:creationId xmlns:a16="http://schemas.microsoft.com/office/drawing/2014/main" id="{1E08B463-FE8E-4D73-9A2D-0BD69D91FE8A}"/>
              </a:ext>
            </a:extLst>
          </p:cNvPr>
          <p:cNvGrpSpPr/>
          <p:nvPr userDrawn="1"/>
        </p:nvGrpSpPr>
        <p:grpSpPr>
          <a:xfrm>
            <a:off x="1" y="6669086"/>
            <a:ext cx="12191800" cy="188913"/>
            <a:chOff x="1" y="6669086"/>
            <a:chExt cx="12191800" cy="188913"/>
          </a:xfrm>
        </p:grpSpPr>
        <p:sp>
          <p:nvSpPr>
            <p:cNvPr id="40" name="Rectangle 17">
              <a:extLst>
                <a:ext uri="{FF2B5EF4-FFF2-40B4-BE49-F238E27FC236}">
                  <a16:creationId xmlns:a16="http://schemas.microsoft.com/office/drawing/2014/main" id="{FCA269F9-D651-43C4-863F-E43C2726E406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id="{5C315E23-363E-4B69-B70C-36826CDBEE8A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tangle 19">
              <a:extLst>
                <a:ext uri="{FF2B5EF4-FFF2-40B4-BE49-F238E27FC236}">
                  <a16:creationId xmlns:a16="http://schemas.microsoft.com/office/drawing/2014/main" id="{CCAC53E5-7976-4BA3-8775-6C248B640869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071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958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2BF1AD02-4937-475A-A95A-A58946F5AC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33332" y="0"/>
            <a:ext cx="4558668" cy="54715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>
                <a:solidFill>
                  <a:sysClr val="windowText" lastClr="000000"/>
                </a:solidFill>
              </a:defRPr>
            </a:lvl1pPr>
          </a:lstStyle>
          <a:p>
            <a:pPr marL="144000" lvl="0" indent="-144000"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9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8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66E99C-E850-4B71-BE01-59C1D4FD2CC1}"/>
              </a:ext>
            </a:extLst>
          </p:cNvPr>
          <p:cNvSpPr/>
          <p:nvPr userDrawn="1"/>
        </p:nvSpPr>
        <p:spPr>
          <a:xfrm rot="5400000">
            <a:off x="0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C93761-35A0-4469-8304-7C5F0B4D3F27}"/>
              </a:ext>
            </a:extLst>
          </p:cNvPr>
          <p:cNvSpPr/>
          <p:nvPr userDrawn="1"/>
        </p:nvSpPr>
        <p:spPr>
          <a:xfrm rot="5400000">
            <a:off x="3816664" y="2579174"/>
            <a:ext cx="462163" cy="71711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0976336-608D-45E1-86B0-AF885E9CA4A4}"/>
              </a:ext>
            </a:extLst>
          </p:cNvPr>
          <p:cNvSpPr/>
          <p:nvPr userDrawn="1"/>
        </p:nvSpPr>
        <p:spPr>
          <a:xfrm rot="5400000">
            <a:off x="9681582" y="3423259"/>
            <a:ext cx="462163" cy="4558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1C5F1DF6-F6F6-47A1-8030-3BC0921AE8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2E3F5EE-9F26-498A-8A0E-B1D1A31EB1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1BA39C0-7522-4FFC-8058-0309845BFA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aphic 21">
            <a:extLst>
              <a:ext uri="{FF2B5EF4-FFF2-40B4-BE49-F238E27FC236}">
                <a16:creationId xmlns:a16="http://schemas.microsoft.com/office/drawing/2014/main" id="{B3DF63C7-C4D1-4E05-B489-4DB2E47C26F9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EAEF4AD-1EFF-4A93-AECA-88B4DE3E7E8B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34A21361-C44B-437C-A323-A8CA29916226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7" name="Graphic 20">
            <a:extLst>
              <a:ext uri="{FF2B5EF4-FFF2-40B4-BE49-F238E27FC236}">
                <a16:creationId xmlns:a16="http://schemas.microsoft.com/office/drawing/2014/main" id="{05130D85-53AD-422A-A011-11B79DB150D8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50F3219F-AA30-4840-A36B-3D9F91C24282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ED3F2EF5-ECAF-4EB6-95A4-5EB227B3CF0D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8F408705-B3A6-41A5-B31C-06EE11EAC4D2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27D970A5-287D-49EA-ACB2-1F0ECDA5C8E4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A7C54950-C6CE-44E5-A4F3-940612A9300F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5E9DB84E-ECF6-439A-9C4B-1A88E2DB31BD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07FA25D2-4484-45ED-8B85-F1F3A33BA2D9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99871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Title (M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00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A picture containing snow, outdoor, grass, track&#10;&#10;Description automatically generated">
            <a:extLst>
              <a:ext uri="{FF2B5EF4-FFF2-40B4-BE49-F238E27FC236}">
                <a16:creationId xmlns:a16="http://schemas.microsoft.com/office/drawing/2014/main" id="{72D2AF93-AB1C-4103-91EE-4FB5B70A75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3716" y="0"/>
            <a:ext cx="4558284" cy="5471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9" y="1493235"/>
            <a:ext cx="6583680" cy="1387046"/>
          </a:xfrm>
        </p:spPr>
        <p:txBody>
          <a:bodyPr wrap="square" anchor="ctr">
            <a:sp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8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E12B837B-6F27-4927-A5D7-EC678B293A9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4BA21DB-885B-443A-A469-132CABDED6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E31D1FF-125C-40E0-A616-A43F9E017E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1" name="Graphic 21">
            <a:extLst>
              <a:ext uri="{FF2B5EF4-FFF2-40B4-BE49-F238E27FC236}">
                <a16:creationId xmlns:a16="http://schemas.microsoft.com/office/drawing/2014/main" id="{8308955E-021E-4440-9862-C549B4892043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F17E4D3C-C7CF-40CC-843E-1ADD62B50C5F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EF38EA6B-3CD1-486D-9548-12CEC46285C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7" name="Graphic 20">
            <a:extLst>
              <a:ext uri="{FF2B5EF4-FFF2-40B4-BE49-F238E27FC236}">
                <a16:creationId xmlns:a16="http://schemas.microsoft.com/office/drawing/2014/main" id="{95CC48AF-F2A2-4228-8890-92BDF4641773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5480F4D7-C0B2-4E9A-B8CF-0EB819EF29DC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80D00286-2F3D-4B10-9C08-7090899A6FC3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A7907BFD-DACF-4BFB-AB5A-331C3C117D67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25BE4A00-27DA-4DD4-A045-2EF968D48AB9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B86A688B-62AE-4263-9DD8-1743F331C685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42311143-B280-468A-9E8D-16FEB7859709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3B59DC99-490E-41CE-AD74-1072C515136B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FA8D8901-F10F-4803-9000-2B00DAE8C2C6}"/>
              </a:ext>
            </a:extLst>
          </p:cNvPr>
          <p:cNvSpPr/>
          <p:nvPr userDrawn="1"/>
        </p:nvSpPr>
        <p:spPr>
          <a:xfrm rot="5400000">
            <a:off x="0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D7B5BB-3DED-449A-A48F-CD6F02640ADE}"/>
              </a:ext>
            </a:extLst>
          </p:cNvPr>
          <p:cNvSpPr/>
          <p:nvPr userDrawn="1"/>
        </p:nvSpPr>
        <p:spPr>
          <a:xfrm rot="5400000">
            <a:off x="3816664" y="2579174"/>
            <a:ext cx="462163" cy="71711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0B9702-EC88-46B2-A10B-5AC089B0023F}"/>
              </a:ext>
            </a:extLst>
          </p:cNvPr>
          <p:cNvSpPr/>
          <p:nvPr userDrawn="1"/>
        </p:nvSpPr>
        <p:spPr>
          <a:xfrm rot="5400000">
            <a:off x="9681582" y="3423259"/>
            <a:ext cx="462163" cy="4558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919291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Title (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88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9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8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14" name="Picture 13" descr="A person holding a gun&#10;&#10;Description automatically generated">
            <a:extLst>
              <a:ext uri="{FF2B5EF4-FFF2-40B4-BE49-F238E27FC236}">
                <a16:creationId xmlns:a16="http://schemas.microsoft.com/office/drawing/2014/main" id="{91285684-FE9C-41FE-86DF-52A16FCBA5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3716" y="0"/>
            <a:ext cx="4558284" cy="5471160"/>
          </a:xfrm>
          <a:prstGeom prst="rect">
            <a:avLst/>
          </a:prstGeom>
        </p:spPr>
      </p:pic>
      <p:pic>
        <p:nvPicPr>
          <p:cNvPr id="4" name="Graphic 11">
            <a:extLst>
              <a:ext uri="{FF2B5EF4-FFF2-40B4-BE49-F238E27FC236}">
                <a16:creationId xmlns:a16="http://schemas.microsoft.com/office/drawing/2014/main" id="{03D22B28-C138-4334-81D8-23B973F416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7E217F9-F98E-43ED-8F7B-4E58E430F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1A4DFFF-C2C3-4FD2-8EF7-15FD53E30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0" name="Graphic 21">
            <a:extLst>
              <a:ext uri="{FF2B5EF4-FFF2-40B4-BE49-F238E27FC236}">
                <a16:creationId xmlns:a16="http://schemas.microsoft.com/office/drawing/2014/main" id="{6EC23E9A-AC52-4066-BE11-D9106B5CEB07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555D64A3-91E5-4AAC-9CBC-2B3E2E5D5658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2B2DC563-D8A8-4215-A84F-75090EE96B8B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" name="Graphic 20">
            <a:extLst>
              <a:ext uri="{FF2B5EF4-FFF2-40B4-BE49-F238E27FC236}">
                <a16:creationId xmlns:a16="http://schemas.microsoft.com/office/drawing/2014/main" id="{0A640410-0AB8-467A-9745-44BFDF74D612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EE8BA6F5-8C17-4F1E-86B2-947B36A27C52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4B2AD09F-4873-407D-9CBC-49B1CA071E89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F3F27C06-A1FB-40BB-9689-7E7FB7D7C94D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50F2A065-DC40-43CE-A155-8966C9B4295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384B3589-A401-408A-9E38-D21FB733AAD5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8728F6C2-145D-4010-AA39-6BE0200EAE90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9C90A12E-6D8C-4736-839C-C38B50C9286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979493D8-0F51-4ACC-81E0-00478C4A6281}"/>
              </a:ext>
            </a:extLst>
          </p:cNvPr>
          <p:cNvSpPr/>
          <p:nvPr userDrawn="1"/>
        </p:nvSpPr>
        <p:spPr>
          <a:xfrm rot="5400000">
            <a:off x="0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869EA0D-E04D-4363-9504-9D1103C7B5AB}"/>
              </a:ext>
            </a:extLst>
          </p:cNvPr>
          <p:cNvSpPr/>
          <p:nvPr userDrawn="1"/>
        </p:nvSpPr>
        <p:spPr>
          <a:xfrm rot="5400000">
            <a:off x="3816664" y="2579174"/>
            <a:ext cx="462163" cy="71711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0D9B9B6-3BBA-4604-A370-0011B26AE0FE}"/>
              </a:ext>
            </a:extLst>
          </p:cNvPr>
          <p:cNvSpPr/>
          <p:nvPr userDrawn="1"/>
        </p:nvSpPr>
        <p:spPr>
          <a:xfrm rot="5400000">
            <a:off x="9681582" y="3423259"/>
            <a:ext cx="462163" cy="4558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694528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_Title (Сoal m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912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0" imgH="469" progId="TCLayout.ActiveDocument.1">
                  <p:embed/>
                </p:oleObj>
              </mc:Choice>
              <mc:Fallback>
                <p:oleObj name="Слайд think-cell" r:id="rId3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old, sitting, pile, motorcycle&#10;&#10;Description automatically generated">
            <a:extLst>
              <a:ext uri="{FF2B5EF4-FFF2-40B4-BE49-F238E27FC236}">
                <a16:creationId xmlns:a16="http://schemas.microsoft.com/office/drawing/2014/main" id="{9DCA0A80-FCCD-4FA6-9CB9-C29362F5910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3716" y="0"/>
            <a:ext cx="4558284" cy="5471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3349" y="1493235"/>
            <a:ext cx="6583680" cy="1387046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3348" y="3122141"/>
            <a:ext cx="6583680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F3E9C932-01A2-4EFB-BB8A-CA26DEFE4E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D2FE1F4-758C-4FE6-9846-863A787B45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3791521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9E90566-687C-48CE-A67C-7FA574673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135457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0" name="Graphic 21">
            <a:extLst>
              <a:ext uri="{FF2B5EF4-FFF2-40B4-BE49-F238E27FC236}">
                <a16:creationId xmlns:a16="http://schemas.microsoft.com/office/drawing/2014/main" id="{E139F7BB-5871-450E-B59E-0449D054F658}"/>
              </a:ext>
            </a:extLst>
          </p:cNvPr>
          <p:cNvGrpSpPr/>
          <p:nvPr userDrawn="1"/>
        </p:nvGrpSpPr>
        <p:grpSpPr>
          <a:xfrm>
            <a:off x="433348" y="3779361"/>
            <a:ext cx="182562" cy="208986"/>
            <a:chOff x="433348" y="3779361"/>
            <a:chExt cx="182562" cy="208986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AF245F4E-ACEB-4DCC-B586-84A45B7C2E9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0FD3C330-08FC-4F42-8D72-C2D66EF09DD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" name="Graphic 20">
            <a:extLst>
              <a:ext uri="{FF2B5EF4-FFF2-40B4-BE49-F238E27FC236}">
                <a16:creationId xmlns:a16="http://schemas.microsoft.com/office/drawing/2014/main" id="{5B435D59-F557-4A20-8387-543E6AD6F389}"/>
              </a:ext>
            </a:extLst>
          </p:cNvPr>
          <p:cNvGrpSpPr/>
          <p:nvPr userDrawn="1"/>
        </p:nvGrpSpPr>
        <p:grpSpPr>
          <a:xfrm>
            <a:off x="416680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F6A67E73-F484-47BF-9A97-D8C7190033D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D1F9E108-1368-4D85-8FB9-DFA9A433E4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B4FE7681-D0F9-49B5-8A87-A37E54A9B4C3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01BDEA07-EC72-43BC-910E-BFD7BC1BD2E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2C87C3EA-33AC-4802-AEDC-DDB45DC189B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B7561C1E-9784-4006-88EA-8AB45AF5A9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362C1810-AD72-46F4-A875-B17F78B864D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8F6D55F-5930-432D-A320-C29856F1DD97}"/>
              </a:ext>
            </a:extLst>
          </p:cNvPr>
          <p:cNvSpPr/>
          <p:nvPr userDrawn="1"/>
        </p:nvSpPr>
        <p:spPr>
          <a:xfrm rot="5400000">
            <a:off x="0" y="6395837"/>
            <a:ext cx="462163" cy="4621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DB3EE4B-B5BA-454A-A0F9-E1D7F3FB0C14}"/>
              </a:ext>
            </a:extLst>
          </p:cNvPr>
          <p:cNvSpPr/>
          <p:nvPr userDrawn="1"/>
        </p:nvSpPr>
        <p:spPr>
          <a:xfrm rot="5400000">
            <a:off x="3816664" y="2579174"/>
            <a:ext cx="462163" cy="71711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C876BD-0329-4C6F-B0F9-5F9AE8B6DD52}"/>
              </a:ext>
            </a:extLst>
          </p:cNvPr>
          <p:cNvSpPr/>
          <p:nvPr userDrawn="1"/>
        </p:nvSpPr>
        <p:spPr>
          <a:xfrm rot="5400000">
            <a:off x="9681582" y="3423259"/>
            <a:ext cx="462163" cy="4558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488143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Title (Brid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water, boat, train, large&#10;&#10;Description automatically generated">
            <a:extLst>
              <a:ext uri="{FF2B5EF4-FFF2-40B4-BE49-F238E27FC236}">
                <a16:creationId xmlns:a16="http://schemas.microsoft.com/office/drawing/2014/main" id="{E3D3A9AF-D6C2-430C-B2E7-BDF3B6F774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19"/>
            <a:ext cx="12192000" cy="6851561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48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16680" y="2302735"/>
            <a:ext cx="5907024" cy="1418850"/>
          </a:xfrm>
        </p:spPr>
        <p:txBody>
          <a:bodyPr wrap="square" anchor="ctr">
            <a:normAutofit/>
          </a:bodyPr>
          <a:lstStyle>
            <a:lvl1pPr marL="0" algn="l" defTabSz="914400" rtl="0" eaLnBrk="1" latinLnBrk="0" hangingPunct="1">
              <a:lnSpc>
                <a:spcPts val="54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16680" y="3947543"/>
            <a:ext cx="590702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ond lin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10070937" y="6669087"/>
            <a:ext cx="2120864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87"/>
            <a:ext cx="6231368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6231365" y="6669087"/>
            <a:ext cx="3839577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" name="Graphic 11">
            <a:extLst>
              <a:ext uri="{FF2B5EF4-FFF2-40B4-BE49-F238E27FC236}">
                <a16:creationId xmlns:a16="http://schemas.microsoft.com/office/drawing/2014/main" id="{D4692AA3-5E95-4A27-AFA9-E67B08BB17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234" y="446088"/>
            <a:ext cx="1817144" cy="284727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D2FE1F4-758C-4FE6-9846-863A787B45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229" y="4507139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peaker(s)/Author(s), Position (optional)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9E90566-687C-48CE-A67C-7FA5746730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2229" y="4851075"/>
            <a:ext cx="4389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22" name="Graphic 21">
            <a:extLst>
              <a:ext uri="{FF2B5EF4-FFF2-40B4-BE49-F238E27FC236}">
                <a16:creationId xmlns:a16="http://schemas.microsoft.com/office/drawing/2014/main" id="{E139F7BB-5871-450E-B59E-0449D054F658}"/>
              </a:ext>
            </a:extLst>
          </p:cNvPr>
          <p:cNvGrpSpPr/>
          <p:nvPr userDrawn="1"/>
        </p:nvGrpSpPr>
        <p:grpSpPr>
          <a:xfrm>
            <a:off x="433348" y="4494979"/>
            <a:ext cx="182562" cy="208986"/>
            <a:chOff x="433348" y="3779361"/>
            <a:chExt cx="182562" cy="208986"/>
          </a:xfrm>
        </p:grpSpPr>
        <p:sp>
          <p:nvSpPr>
            <p:cNvPr id="23" name="Полилиния: фигура 20">
              <a:extLst>
                <a:ext uri="{FF2B5EF4-FFF2-40B4-BE49-F238E27FC236}">
                  <a16:creationId xmlns:a16="http://schemas.microsoft.com/office/drawing/2014/main" id="{AF245F4E-ACEB-4DCC-B586-84A45B7C2E9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2">
              <a:extLst>
                <a:ext uri="{FF2B5EF4-FFF2-40B4-BE49-F238E27FC236}">
                  <a16:creationId xmlns:a16="http://schemas.microsoft.com/office/drawing/2014/main" id="{0FD3C330-08FC-4F42-8D72-C2D66EF09DD3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3" name="Graphic 20">
            <a:extLst>
              <a:ext uri="{FF2B5EF4-FFF2-40B4-BE49-F238E27FC236}">
                <a16:creationId xmlns:a16="http://schemas.microsoft.com/office/drawing/2014/main" id="{5B435D59-F557-4A20-8387-543E6AD6F389}"/>
              </a:ext>
            </a:extLst>
          </p:cNvPr>
          <p:cNvGrpSpPr/>
          <p:nvPr userDrawn="1"/>
        </p:nvGrpSpPr>
        <p:grpSpPr>
          <a:xfrm>
            <a:off x="416680" y="4829505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4" name="Полилиния: фигура 26">
              <a:extLst>
                <a:ext uri="{FF2B5EF4-FFF2-40B4-BE49-F238E27FC236}">
                  <a16:creationId xmlns:a16="http://schemas.microsoft.com/office/drawing/2014/main" id="{F6A67E73-F484-47BF-9A97-D8C7190033D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27">
              <a:extLst>
                <a:ext uri="{FF2B5EF4-FFF2-40B4-BE49-F238E27FC236}">
                  <a16:creationId xmlns:a16="http://schemas.microsoft.com/office/drawing/2014/main" id="{D1F9E108-1368-4D85-8FB9-DFA9A433E4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28">
              <a:extLst>
                <a:ext uri="{FF2B5EF4-FFF2-40B4-BE49-F238E27FC236}">
                  <a16:creationId xmlns:a16="http://schemas.microsoft.com/office/drawing/2014/main" id="{B4FE7681-D0F9-49B5-8A87-A37E54A9B4C3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29">
              <a:extLst>
                <a:ext uri="{FF2B5EF4-FFF2-40B4-BE49-F238E27FC236}">
                  <a16:creationId xmlns:a16="http://schemas.microsoft.com/office/drawing/2014/main" id="{01BDEA07-EC72-43BC-910E-BFD7BC1BD2E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0">
              <a:extLst>
                <a:ext uri="{FF2B5EF4-FFF2-40B4-BE49-F238E27FC236}">
                  <a16:creationId xmlns:a16="http://schemas.microsoft.com/office/drawing/2014/main" id="{2C87C3EA-33AC-4802-AEDC-DDB45DC189B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Полилиния: фигура 31">
              <a:extLst>
                <a:ext uri="{FF2B5EF4-FFF2-40B4-BE49-F238E27FC236}">
                  <a16:creationId xmlns:a16="http://schemas.microsoft.com/office/drawing/2014/main" id="{B7561C1E-9784-4006-88EA-8AB45AF5A9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2">
              <a:extLst>
                <a:ext uri="{FF2B5EF4-FFF2-40B4-BE49-F238E27FC236}">
                  <a16:creationId xmlns:a16="http://schemas.microsoft.com/office/drawing/2014/main" id="{362C1810-AD72-46F4-A875-B17F78B864D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7228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48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91538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5" imgW="470" imgH="469" progId="TCLayout.ActiveDocument.1">
                  <p:embed/>
                </p:oleObj>
              </mc:Choice>
              <mc:Fallback>
                <p:oleObj name="Слайд think-cell" r:id="rId4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ED78B-0F34-4CEB-A787-8CD6DEA7D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501019"/>
            <a:ext cx="9566670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8B8A5-C1E5-477B-B9D7-6C70B0C8C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0950" y="6454274"/>
            <a:ext cx="333376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27D286E-11A8-4EE3-B610-0F2D359250DE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471544" y="541265"/>
            <a:ext cx="1263256" cy="19650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B59802-BD4F-4539-9450-1E26DF6D19CC}"/>
              </a:ext>
            </a:extLst>
          </p:cNvPr>
          <p:cNvCxnSpPr>
            <a:cxnSpLocks/>
          </p:cNvCxnSpPr>
          <p:nvPr userDrawn="1"/>
        </p:nvCxnSpPr>
        <p:spPr>
          <a:xfrm>
            <a:off x="447675" y="906729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842B67-EA6D-4958-B375-E5330C516946}"/>
              </a:ext>
            </a:extLst>
          </p:cNvPr>
          <p:cNvCxnSpPr>
            <a:cxnSpLocks/>
          </p:cNvCxnSpPr>
          <p:nvPr userDrawn="1"/>
        </p:nvCxnSpPr>
        <p:spPr>
          <a:xfrm>
            <a:off x="447675" y="6305776"/>
            <a:ext cx="11287125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53FFA94-442A-4128-BA07-1B6109C05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674" y="6423496"/>
            <a:ext cx="10852785" cy="2308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DF74BA-6CAF-4014-8F6C-5E97C4027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674" y="1089031"/>
            <a:ext cx="11287124" cy="50768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44000" lvl="0" indent="-144000" defTabSz="914400">
              <a:spcAft>
                <a:spcPts val="600"/>
              </a:spcAft>
            </a:pPr>
            <a:r>
              <a:rPr lang="en-US" dirty="0"/>
              <a:t>First level</a:t>
            </a:r>
          </a:p>
          <a:p>
            <a:pPr marL="288000" lvl="1" indent="-144000" defTabSz="914400">
              <a:spcAft>
                <a:spcPts val="600"/>
              </a:spcAft>
            </a:pPr>
            <a:r>
              <a:rPr lang="en-US" dirty="0"/>
              <a:t>Second level</a:t>
            </a:r>
          </a:p>
          <a:p>
            <a:pPr marL="468000" lvl="2" indent="-171450" defTabSz="914400">
              <a:spcAft>
                <a:spcPts val="600"/>
              </a:spcAft>
            </a:pPr>
            <a:r>
              <a:rPr lang="en-US" dirty="0"/>
              <a:t>Third level</a:t>
            </a:r>
          </a:p>
          <a:p>
            <a:pPr marL="612000" lvl="3" indent="-144000" defTabSz="914400">
              <a:spcAft>
                <a:spcPts val="600"/>
              </a:spcAft>
            </a:pPr>
            <a:r>
              <a:rPr lang="en-US" dirty="0"/>
              <a:t>Fourth level</a:t>
            </a:r>
          </a:p>
          <a:p>
            <a:pPr marL="792000" lvl="4" indent="-171450" defTabSz="914400">
              <a:spcAft>
                <a:spcPts val="600"/>
              </a:spcAft>
            </a:pPr>
            <a:r>
              <a:rPr lang="en-US" dirty="0"/>
              <a:t>Fifth level</a:t>
            </a:r>
          </a:p>
          <a:p>
            <a:pPr lvl="4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989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748" r:id="rId2"/>
    <p:sldLayoutId id="2147483877" r:id="rId3"/>
    <p:sldLayoutId id="2147483750" r:id="rId4"/>
    <p:sldLayoutId id="2147483865" r:id="rId5"/>
    <p:sldLayoutId id="2147483845" r:id="rId6"/>
    <p:sldLayoutId id="2147483866" r:id="rId7"/>
    <p:sldLayoutId id="2147483867" r:id="rId8"/>
    <p:sldLayoutId id="2147483851" r:id="rId9"/>
    <p:sldLayoutId id="2147483886" r:id="rId10"/>
    <p:sldLayoutId id="2147483887" r:id="rId11"/>
    <p:sldLayoutId id="2147483888" r:id="rId12"/>
    <p:sldLayoutId id="2147483709" r:id="rId13"/>
    <p:sldLayoutId id="2147483707" r:id="rId14"/>
    <p:sldLayoutId id="2147483889" r:id="rId15"/>
    <p:sldLayoutId id="2147483874" r:id="rId16"/>
    <p:sldLayoutId id="2147483884" r:id="rId17"/>
    <p:sldLayoutId id="2147483862" r:id="rId18"/>
    <p:sldLayoutId id="2147483878" r:id="rId19"/>
    <p:sldLayoutId id="2147483873" r:id="rId20"/>
    <p:sldLayoutId id="2147483881" r:id="rId21"/>
    <p:sldLayoutId id="2147483892" r:id="rId22"/>
    <p:sldLayoutId id="2147483893" r:id="rId23"/>
    <p:sldLayoutId id="2147483875" r:id="rId24"/>
    <p:sldLayoutId id="2147483882" r:id="rId25"/>
    <p:sldLayoutId id="2147483863" r:id="rId26"/>
    <p:sldLayoutId id="2147483883" r:id="rId27"/>
    <p:sldLayoutId id="2147483871" r:id="rId28"/>
    <p:sldLayoutId id="2147483879" r:id="rId29"/>
    <p:sldLayoutId id="2147483864" r:id="rId30"/>
    <p:sldLayoutId id="2147483885" r:id="rId31"/>
    <p:sldLayoutId id="2147483872" r:id="rId32"/>
    <p:sldLayoutId id="2147483880" r:id="rId33"/>
    <p:sldLayoutId id="2147483870" r:id="rId34"/>
    <p:sldLayoutId id="2147483869" r:id="rId35"/>
    <p:sldLayoutId id="2147483854" r:id="rId36"/>
    <p:sldLayoutId id="2147483890" r:id="rId37"/>
    <p:sldLayoutId id="2147483696" r:id="rId38"/>
    <p:sldLayoutId id="2147483891" r:id="rId39"/>
    <p:sldLayoutId id="2147483800" r:id="rId40"/>
    <p:sldLayoutId id="2147483801" r:id="rId4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D7817"/>
        </a:buClr>
        <a:buFont typeface="Wingdings" panose="05000000000000000000" pitchFamily="2" charset="2"/>
        <a:buChar char="§"/>
        <a:defRPr lang="ru-RU" sz="1600" kern="1200" dirty="0">
          <a:solidFill>
            <a:srgbClr val="000000"/>
          </a:solidFill>
          <a:latin typeface="Arial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–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800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─"/>
        <a:defRPr lang="ru-RU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3294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0" imgH="469" progId="TCLayout.ActiveDocument.1">
                  <p:embed/>
                </p:oleObj>
              </mc:Choice>
              <mc:Fallback>
                <p:oleObj name="Слайд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Заголовок 6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andardization of </a:t>
            </a:r>
            <a:r>
              <a:rPr lang="en-US" dirty="0" err="1"/>
              <a:t>Waterbox</a:t>
            </a:r>
            <a:r>
              <a:rPr lang="en-US" dirty="0"/>
              <a:t> Utilization</a:t>
            </a:r>
            <a:endParaRPr lang="ru-RU" dirty="0"/>
          </a:p>
        </p:txBody>
      </p:sp>
      <p:sp>
        <p:nvSpPr>
          <p:cNvPr id="62" name="Подзаголовок 6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r completion of MSDS692</a:t>
            </a:r>
          </a:p>
        </p:txBody>
      </p:sp>
      <p:sp>
        <p:nvSpPr>
          <p:cNvPr id="63" name="Текст 6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ryce Lakamp</a:t>
            </a:r>
            <a:endParaRPr lang="ru-RU" dirty="0"/>
          </a:p>
        </p:txBody>
      </p:sp>
      <p:sp>
        <p:nvSpPr>
          <p:cNvPr id="64" name="Текст 6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rch 3, 2023</a:t>
            </a:r>
          </a:p>
        </p:txBody>
      </p:sp>
      <p:sp>
        <p:nvSpPr>
          <p:cNvPr id="14" name="AutoShape 2">
            <a:extLst>
              <a:ext uri="{FF2B5EF4-FFF2-40B4-BE49-F238E27FC236}">
                <a16:creationId xmlns:a16="http://schemas.microsoft.com/office/drawing/2014/main" id="{12A488F1-DBEA-4496-B0F0-1C89405100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977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77CC1-6256-48A5-3E99-0292C6D6E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Model Development - Support Vector Regression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61AAC9-2125-B48A-7AB4-5F2D5E73E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37DDA3-8E66-F40F-9BF6-A2837C1208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7116907" cy="5076000"/>
          </a:xfrm>
        </p:spPr>
        <p:txBody>
          <a:bodyPr/>
          <a:lstStyle/>
          <a:p>
            <a:r>
              <a:rPr lang="en-US" dirty="0"/>
              <a:t>Used some insights from Linear Regression to reduce scope</a:t>
            </a:r>
          </a:p>
          <a:p>
            <a:r>
              <a:rPr lang="en-US" dirty="0"/>
              <a:t>Utilized same wrapper function</a:t>
            </a:r>
          </a:p>
          <a:p>
            <a:r>
              <a:rPr lang="en-US" dirty="0"/>
              <a:t>Execution of 17 input combinations took 2550 minutes (linear regression was 2 minutes)</a:t>
            </a:r>
          </a:p>
          <a:p>
            <a:r>
              <a:rPr lang="en-US" dirty="0"/>
              <a:t>Attempted to use muti-threading to better utilize CPU, with no success</a:t>
            </a:r>
          </a:p>
          <a:p>
            <a:r>
              <a:rPr lang="en-US" dirty="0"/>
              <a:t>SVR model was more representative models</a:t>
            </a:r>
          </a:p>
          <a:p>
            <a:pPr lvl="1"/>
            <a:r>
              <a:rPr lang="en-US" dirty="0"/>
              <a:t>Best predictive model used </a:t>
            </a:r>
            <a:r>
              <a:rPr lang="en-US" dirty="0" err="1"/>
              <a:t>waterbox</a:t>
            </a:r>
            <a:r>
              <a:rPr lang="en-US" dirty="0"/>
              <a:t> 3 &amp; 4 combinati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08CE0A-9670-7F09-4EA3-7976727D68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2694"/>
          <a:stretch/>
        </p:blipFill>
        <p:spPr>
          <a:xfrm>
            <a:off x="7964424" y="1188720"/>
            <a:ext cx="3611704" cy="39410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2FE9A1-11CC-FDDB-DFCD-AA042FDF0A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647" y="3061099"/>
            <a:ext cx="3908627" cy="316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689A9-AB19-9C3E-A1CE-68DE34E91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Determination of Optimal settings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47A318-3031-2E76-BA7B-C514F6A8DC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AB3116-6D6E-270F-8CEF-9FA67A2624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7676" y="1089850"/>
            <a:ext cx="5858122" cy="5076000"/>
          </a:xfrm>
        </p:spPr>
        <p:txBody>
          <a:bodyPr/>
          <a:lstStyle/>
          <a:p>
            <a:r>
              <a:rPr lang="en-US" dirty="0"/>
              <a:t>Constructed data frame with set points to feed into model</a:t>
            </a:r>
          </a:p>
          <a:p>
            <a:pPr lvl="1"/>
            <a:r>
              <a:rPr lang="en-US" dirty="0"/>
              <a:t>Approximated flow and pressure as linear relationship to valve position</a:t>
            </a:r>
          </a:p>
          <a:p>
            <a:pPr lvl="1"/>
            <a:r>
              <a:rPr lang="en-US" dirty="0"/>
              <a:t>Set incoming speed and temperature to size group median values, </a:t>
            </a:r>
          </a:p>
          <a:p>
            <a:r>
              <a:rPr lang="en-US" dirty="0"/>
              <a:t>Generated predicted values for input combinations.</a:t>
            </a:r>
          </a:p>
          <a:p>
            <a:r>
              <a:rPr lang="en-US" dirty="0"/>
              <a:t>Plotted contour curve of valve positions and deviation to set point</a:t>
            </a:r>
          </a:p>
          <a:p>
            <a:r>
              <a:rPr lang="en-US" dirty="0"/>
              <a:t>Optimal region in white, a non-linear region.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82EE3B-82E7-9D2B-DFBD-1AC8B851E9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5141" y="1035664"/>
            <a:ext cx="520065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03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689A9-AB19-9C3E-A1CE-68DE34E91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dirty="0"/>
              <a:t>Conclusion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47A318-3031-2E76-BA7B-C514F6A8DC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AB3116-6D6E-270F-8CEF-9FA67A2624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7676" y="1089850"/>
            <a:ext cx="5858122" cy="5076000"/>
          </a:xfrm>
        </p:spPr>
        <p:txBody>
          <a:bodyPr/>
          <a:lstStyle/>
          <a:p>
            <a:r>
              <a:rPr lang="en-US" dirty="0"/>
              <a:t>Was able to extract and merge multiple data sources</a:t>
            </a:r>
          </a:p>
          <a:p>
            <a:r>
              <a:rPr lang="en-US" dirty="0"/>
              <a:t>Accomplished cleaning and factor reduction</a:t>
            </a:r>
          </a:p>
          <a:p>
            <a:r>
              <a:rPr lang="en-US" dirty="0"/>
              <a:t>Generated models using both Linear and SVR </a:t>
            </a:r>
          </a:p>
          <a:p>
            <a:r>
              <a:rPr lang="en-US" dirty="0"/>
              <a:t>Evaluated best model for optimal </a:t>
            </a:r>
            <a:r>
              <a:rPr lang="en-US" dirty="0" err="1"/>
              <a:t>waterbox</a:t>
            </a:r>
            <a:r>
              <a:rPr lang="en-US" dirty="0"/>
              <a:t> settings</a:t>
            </a:r>
          </a:p>
          <a:p>
            <a:endParaRPr lang="en-US" dirty="0"/>
          </a:p>
          <a:p>
            <a:r>
              <a:rPr lang="en-US" dirty="0"/>
              <a:t>Future extension</a:t>
            </a:r>
          </a:p>
          <a:p>
            <a:pPr lvl="1"/>
            <a:r>
              <a:rPr lang="en-US" dirty="0"/>
              <a:t>Incorporate more factors and responses</a:t>
            </a:r>
          </a:p>
          <a:p>
            <a:pPr lvl="1"/>
            <a:r>
              <a:rPr lang="en-US" dirty="0"/>
              <a:t>Use improved model for flows and pressures vs valve opening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82EE3B-82E7-9D2B-DFBD-1AC8B851E9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5141" y="1035664"/>
            <a:ext cx="520065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177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(719) 299-2412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lakamp@regis.edu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6552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57AF0F4-9E9C-0B27-BCBA-B56366EFE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BDD76-728E-6B6B-B924-6CD2782AE1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Data Extraction</a:t>
            </a:r>
          </a:p>
          <a:p>
            <a:r>
              <a:rPr lang="en-US" dirty="0"/>
              <a:t>Cleaning</a:t>
            </a:r>
          </a:p>
          <a:p>
            <a:r>
              <a:rPr lang="en-US" dirty="0"/>
              <a:t>Exploration</a:t>
            </a:r>
          </a:p>
          <a:p>
            <a:pPr lvl="1"/>
            <a:r>
              <a:rPr lang="en-US" dirty="0" err="1"/>
              <a:t>Waterbox</a:t>
            </a:r>
            <a:r>
              <a:rPr lang="en-US" dirty="0"/>
              <a:t> Combinations</a:t>
            </a:r>
          </a:p>
          <a:p>
            <a:pPr lvl="1"/>
            <a:r>
              <a:rPr lang="en-US" dirty="0"/>
              <a:t>Distributions</a:t>
            </a:r>
          </a:p>
          <a:p>
            <a:pPr lvl="1"/>
            <a:r>
              <a:rPr lang="en-US" dirty="0"/>
              <a:t>Correlations</a:t>
            </a:r>
          </a:p>
          <a:p>
            <a:r>
              <a:rPr lang="en-US" dirty="0"/>
              <a:t>Factor Reduction</a:t>
            </a:r>
          </a:p>
          <a:p>
            <a:r>
              <a:rPr lang="en-US" dirty="0"/>
              <a:t>Model development</a:t>
            </a:r>
          </a:p>
          <a:p>
            <a:pPr lvl="1"/>
            <a:r>
              <a:rPr lang="en-US" dirty="0"/>
              <a:t>Linear Regression</a:t>
            </a:r>
          </a:p>
          <a:p>
            <a:pPr lvl="1"/>
            <a:r>
              <a:rPr lang="en-US" dirty="0"/>
              <a:t>Support Vector Regression</a:t>
            </a:r>
          </a:p>
          <a:p>
            <a:pPr lvl="1"/>
            <a:r>
              <a:rPr lang="en-US" dirty="0"/>
              <a:t>Comparison</a:t>
            </a:r>
          </a:p>
          <a:p>
            <a:r>
              <a:rPr lang="en-US" dirty="0"/>
              <a:t>Determination of Optimal setting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BFA9FD-CD1F-CE97-48E5-2391376590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758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57AF0F4-9E9C-0B27-BCBA-B56366EFE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Introduction</a:t>
            </a:r>
            <a:endParaRPr lang="en-US" sz="2200" dirty="0"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BDD76-728E-6B6B-B924-6CD2782AE1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11287125" cy="112373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 rod mill smooth material is produced from 0.219 to 0.750 inch in diameter</a:t>
            </a:r>
          </a:p>
          <a:p>
            <a:r>
              <a:rPr lang="en-US" dirty="0"/>
              <a:t>Hot steel mill use water to cool product to control for mechanical properties and dimensions</a:t>
            </a:r>
          </a:p>
          <a:p>
            <a:r>
              <a:rPr lang="en-US" dirty="0"/>
              <a:t>Five water cooling boxes (</a:t>
            </a:r>
            <a:r>
              <a:rPr lang="en-US" dirty="0" err="1"/>
              <a:t>waterboxes</a:t>
            </a:r>
            <a:r>
              <a:rPr lang="en-US" dirty="0"/>
              <a:t>) can be selected to control final temperature (LH) after final rolling (NTM)</a:t>
            </a:r>
          </a:p>
          <a:p>
            <a:pPr lvl="1"/>
            <a:r>
              <a:rPr lang="en-US" dirty="0"/>
              <a:t>Operator selects 0-5 boxes (in any combination) to achieve tempera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BFA9FD-CD1F-CE97-48E5-2391376590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1BAA2D6-281C-A8B6-EB23-86EA5BE9B282}"/>
              </a:ext>
            </a:extLst>
          </p:cNvPr>
          <p:cNvSpPr/>
          <p:nvPr/>
        </p:nvSpPr>
        <p:spPr>
          <a:xfrm>
            <a:off x="1754155" y="2191745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T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68A3A1-509C-54D2-BC7E-E92E416CB2D6}"/>
              </a:ext>
            </a:extLst>
          </p:cNvPr>
          <p:cNvSpPr/>
          <p:nvPr/>
        </p:nvSpPr>
        <p:spPr>
          <a:xfrm>
            <a:off x="3476431" y="2191743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B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1F987C-4F66-9886-8EC2-282DEFF19C36}"/>
              </a:ext>
            </a:extLst>
          </p:cNvPr>
          <p:cNvSpPr/>
          <p:nvPr/>
        </p:nvSpPr>
        <p:spPr>
          <a:xfrm>
            <a:off x="4540121" y="2191743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B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31833F-BDDE-5713-8F8B-F54F2712190C}"/>
              </a:ext>
            </a:extLst>
          </p:cNvPr>
          <p:cNvSpPr/>
          <p:nvPr/>
        </p:nvSpPr>
        <p:spPr>
          <a:xfrm>
            <a:off x="5631803" y="2191744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B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6D85FE-88C8-4E47-4851-B092702012D0}"/>
              </a:ext>
            </a:extLst>
          </p:cNvPr>
          <p:cNvSpPr/>
          <p:nvPr/>
        </p:nvSpPr>
        <p:spPr>
          <a:xfrm>
            <a:off x="6695493" y="2191743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B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765AD9-2614-66C3-C7F6-D2239064C04C}"/>
              </a:ext>
            </a:extLst>
          </p:cNvPr>
          <p:cNvSpPr/>
          <p:nvPr/>
        </p:nvSpPr>
        <p:spPr>
          <a:xfrm>
            <a:off x="7759183" y="2191743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B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CB1BC0-511A-FD0C-2520-7DD308D7BADE}"/>
              </a:ext>
            </a:extLst>
          </p:cNvPr>
          <p:cNvSpPr/>
          <p:nvPr/>
        </p:nvSpPr>
        <p:spPr>
          <a:xfrm>
            <a:off x="9481459" y="2191743"/>
            <a:ext cx="811764" cy="7371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H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B3602DD-C6AF-2FF4-803D-8D162B5A20EE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2565919" y="2560303"/>
            <a:ext cx="910512" cy="2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84A304-6C4B-FEB4-23D0-F4ACB8722A28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>
            <a:off x="4288195" y="2560303"/>
            <a:ext cx="251926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C501FA-F8D7-485B-CB90-8CB473F7953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5351885" y="2560303"/>
            <a:ext cx="279918" cy="1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D9DF0C7-1AEC-5A8B-3E04-012D726578FF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 flipV="1">
            <a:off x="6443567" y="2560303"/>
            <a:ext cx="251926" cy="1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23F4898-E627-89AD-6772-0DE01A7DD6A4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7507257" y="2560303"/>
            <a:ext cx="251926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52EABFB-0AEA-227A-9F5C-BEED398F4BED}"/>
              </a:ext>
            </a:extLst>
          </p:cNvPr>
          <p:cNvCxnSpPr>
            <a:cxnSpLocks/>
            <a:stCxn id="10" idx="3"/>
            <a:endCxn id="11" idx="1"/>
          </p:cNvCxnSpPr>
          <p:nvPr/>
        </p:nvCxnSpPr>
        <p:spPr>
          <a:xfrm>
            <a:off x="8570947" y="2560303"/>
            <a:ext cx="910512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1E7F9D7-7B88-8D4A-AA9A-072E5D464153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10293223" y="2560303"/>
            <a:ext cx="910512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2B488DF6-5A8B-D3C4-B4DF-A725FC9D8700}"/>
              </a:ext>
            </a:extLst>
          </p:cNvPr>
          <p:cNvCxnSpPr>
            <a:cxnSpLocks/>
            <a:endCxn id="2" idx="1"/>
          </p:cNvCxnSpPr>
          <p:nvPr/>
        </p:nvCxnSpPr>
        <p:spPr>
          <a:xfrm>
            <a:off x="718457" y="2560305"/>
            <a:ext cx="1035698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CBB7C596-E723-71B4-86FE-702F489C5DD7}"/>
              </a:ext>
            </a:extLst>
          </p:cNvPr>
          <p:cNvSpPr/>
          <p:nvPr/>
        </p:nvSpPr>
        <p:spPr>
          <a:xfrm>
            <a:off x="2160037" y="3297420"/>
            <a:ext cx="1507291" cy="61181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– Temperature</a:t>
            </a:r>
          </a:p>
          <a:p>
            <a:r>
              <a:rPr lang="en-US" sz="1600" dirty="0"/>
              <a:t>– Speed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B1E223B-7398-AC6E-CF61-323FA5507CF9}"/>
              </a:ext>
            </a:extLst>
          </p:cNvPr>
          <p:cNvSpPr/>
          <p:nvPr/>
        </p:nvSpPr>
        <p:spPr>
          <a:xfrm>
            <a:off x="447674" y="3297419"/>
            <a:ext cx="1507291" cy="59083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– Nominal Diameter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8614033-90F8-4454-27AE-6B6C7300F23E}"/>
              </a:ext>
            </a:extLst>
          </p:cNvPr>
          <p:cNvCxnSpPr>
            <a:cxnSpLocks/>
            <a:stCxn id="43" idx="0"/>
          </p:cNvCxnSpPr>
          <p:nvPr/>
        </p:nvCxnSpPr>
        <p:spPr>
          <a:xfrm flipV="1">
            <a:off x="1201320" y="2560303"/>
            <a:ext cx="4910" cy="73711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D17CF92-D6DD-88DF-31D8-A594393A0537}"/>
              </a:ext>
            </a:extLst>
          </p:cNvPr>
          <p:cNvCxnSpPr/>
          <p:nvPr/>
        </p:nvCxnSpPr>
        <p:spPr>
          <a:xfrm flipV="1">
            <a:off x="2884345" y="2560302"/>
            <a:ext cx="4910" cy="73711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FF5BF099-175F-DE72-9058-4980B1B9FC4A}"/>
              </a:ext>
            </a:extLst>
          </p:cNvPr>
          <p:cNvSpPr/>
          <p:nvPr/>
        </p:nvSpPr>
        <p:spPr>
          <a:xfrm>
            <a:off x="4764627" y="3299349"/>
            <a:ext cx="2555939" cy="113497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– Selected </a:t>
            </a:r>
          </a:p>
          <a:p>
            <a:r>
              <a:rPr lang="en-US" sz="1600" dirty="0"/>
              <a:t>– Valve Opening</a:t>
            </a:r>
          </a:p>
          <a:p>
            <a:r>
              <a:rPr lang="en-US" sz="1600" dirty="0"/>
              <a:t>– Pressure</a:t>
            </a:r>
          </a:p>
          <a:p>
            <a:r>
              <a:rPr lang="en-US" sz="1600" dirty="0"/>
              <a:t>– Flow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8884B4C-09F9-4AB9-5970-00CA6B9AA6DE}"/>
              </a:ext>
            </a:extLst>
          </p:cNvPr>
          <p:cNvCxnSpPr>
            <a:cxnSpLocks/>
            <a:stCxn id="47" idx="0"/>
            <a:endCxn id="3" idx="2"/>
          </p:cNvCxnSpPr>
          <p:nvPr/>
        </p:nvCxnSpPr>
        <p:spPr>
          <a:xfrm flipH="1" flipV="1">
            <a:off x="3882313" y="2928862"/>
            <a:ext cx="2160284" cy="3704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1EC36B5-09BC-1447-EF94-C17EFCF34B3B}"/>
              </a:ext>
            </a:extLst>
          </p:cNvPr>
          <p:cNvCxnSpPr>
            <a:cxnSpLocks/>
            <a:stCxn id="47" idx="0"/>
            <a:endCxn id="4" idx="2"/>
          </p:cNvCxnSpPr>
          <p:nvPr/>
        </p:nvCxnSpPr>
        <p:spPr>
          <a:xfrm flipH="1" flipV="1">
            <a:off x="4946003" y="2928862"/>
            <a:ext cx="1096594" cy="3704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2C48B2E-03BA-0989-7EDD-47144374AA7B}"/>
              </a:ext>
            </a:extLst>
          </p:cNvPr>
          <p:cNvCxnSpPr>
            <a:cxnSpLocks/>
            <a:stCxn id="47" idx="0"/>
            <a:endCxn id="5" idx="2"/>
          </p:cNvCxnSpPr>
          <p:nvPr/>
        </p:nvCxnSpPr>
        <p:spPr>
          <a:xfrm flipH="1" flipV="1">
            <a:off x="6037685" y="2928863"/>
            <a:ext cx="4912" cy="37048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9499AEE-2D18-C8EA-34FF-3ED9BBA429DA}"/>
              </a:ext>
            </a:extLst>
          </p:cNvPr>
          <p:cNvCxnSpPr>
            <a:cxnSpLocks/>
            <a:stCxn id="47" idx="0"/>
            <a:endCxn id="9" idx="2"/>
          </p:cNvCxnSpPr>
          <p:nvPr/>
        </p:nvCxnSpPr>
        <p:spPr>
          <a:xfrm flipV="1">
            <a:off x="6042597" y="2928862"/>
            <a:ext cx="1058778" cy="3704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2CCB8D2-C343-F57F-72A8-5D7CB933BBFA}"/>
              </a:ext>
            </a:extLst>
          </p:cNvPr>
          <p:cNvCxnSpPr>
            <a:cxnSpLocks/>
            <a:stCxn id="47" idx="0"/>
            <a:endCxn id="10" idx="2"/>
          </p:cNvCxnSpPr>
          <p:nvPr/>
        </p:nvCxnSpPr>
        <p:spPr>
          <a:xfrm flipV="1">
            <a:off x="6042597" y="2928862"/>
            <a:ext cx="2122468" cy="3704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B20D095-640E-4536-CE91-1773E3E040FD}"/>
              </a:ext>
            </a:extLst>
          </p:cNvPr>
          <p:cNvSpPr/>
          <p:nvPr/>
        </p:nvSpPr>
        <p:spPr>
          <a:xfrm>
            <a:off x="9942016" y="3332328"/>
            <a:ext cx="1507291" cy="3413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– Temperature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8E716F4-E1FB-E56C-8675-2EFD37219610}"/>
              </a:ext>
            </a:extLst>
          </p:cNvPr>
          <p:cNvCxnSpPr/>
          <p:nvPr/>
        </p:nvCxnSpPr>
        <p:spPr>
          <a:xfrm flipV="1">
            <a:off x="10666324" y="2595210"/>
            <a:ext cx="4910" cy="73711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 descr="Diagram">
            <a:extLst>
              <a:ext uri="{FF2B5EF4-FFF2-40B4-BE49-F238E27FC236}">
                <a16:creationId xmlns:a16="http://schemas.microsoft.com/office/drawing/2014/main" id="{7906840F-D62B-EF77-286B-F3E04DA35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8440" y="3673806"/>
            <a:ext cx="3469557" cy="3084051"/>
          </a:xfrm>
          <a:prstGeom prst="rect">
            <a:avLst/>
          </a:prstGeom>
        </p:spPr>
      </p:pic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19EB817-BDCF-42CF-9146-36A435E6A847}"/>
              </a:ext>
            </a:extLst>
          </p:cNvPr>
          <p:cNvCxnSpPr>
            <a:cxnSpLocks/>
          </p:cNvCxnSpPr>
          <p:nvPr/>
        </p:nvCxnSpPr>
        <p:spPr>
          <a:xfrm>
            <a:off x="9488380" y="4416356"/>
            <a:ext cx="1066801" cy="571569"/>
          </a:xfrm>
          <a:prstGeom prst="bentConnector3">
            <a:avLst>
              <a:gd name="adj1" fmla="val -30655"/>
            </a:avLst>
          </a:prstGeom>
          <a:ln w="38100" cap="rnd">
            <a:solidFill>
              <a:srgbClr val="0070C0">
                <a:alpha val="70000"/>
              </a:srgb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68">
            <a:extLst>
              <a:ext uri="{FF2B5EF4-FFF2-40B4-BE49-F238E27FC236}">
                <a16:creationId xmlns:a16="http://schemas.microsoft.com/office/drawing/2014/main" id="{298D7AFF-FAFC-E071-B00E-2F5722A2EC98}"/>
              </a:ext>
            </a:extLst>
          </p:cNvPr>
          <p:cNvCxnSpPr>
            <a:cxnSpLocks/>
          </p:cNvCxnSpPr>
          <p:nvPr/>
        </p:nvCxnSpPr>
        <p:spPr>
          <a:xfrm rot="5400000">
            <a:off x="9526421" y="4541104"/>
            <a:ext cx="554831" cy="338810"/>
          </a:xfrm>
          <a:prstGeom prst="bentConnector3">
            <a:avLst>
              <a:gd name="adj1" fmla="val -930"/>
            </a:avLst>
          </a:prstGeom>
          <a:ln w="38100">
            <a:solidFill>
              <a:srgbClr val="0070C0">
                <a:alpha val="70000"/>
              </a:srgb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68">
            <a:extLst>
              <a:ext uri="{FF2B5EF4-FFF2-40B4-BE49-F238E27FC236}">
                <a16:creationId xmlns:a16="http://schemas.microsoft.com/office/drawing/2014/main" id="{D25F2B68-FD57-5AF7-8861-768B146FACF0}"/>
              </a:ext>
            </a:extLst>
          </p:cNvPr>
          <p:cNvCxnSpPr>
            <a:cxnSpLocks/>
          </p:cNvCxnSpPr>
          <p:nvPr/>
        </p:nvCxnSpPr>
        <p:spPr>
          <a:xfrm rot="5400000">
            <a:off x="9993145" y="4533892"/>
            <a:ext cx="554831" cy="338810"/>
          </a:xfrm>
          <a:prstGeom prst="bentConnector3">
            <a:avLst>
              <a:gd name="adj1" fmla="val -930"/>
            </a:avLst>
          </a:prstGeom>
          <a:ln w="38100">
            <a:solidFill>
              <a:srgbClr val="0070C0">
                <a:alpha val="70000"/>
              </a:srgb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68">
            <a:extLst>
              <a:ext uri="{FF2B5EF4-FFF2-40B4-BE49-F238E27FC236}">
                <a16:creationId xmlns:a16="http://schemas.microsoft.com/office/drawing/2014/main" id="{44D68B98-42CE-C4BA-AB4C-C7198DC938C8}"/>
              </a:ext>
            </a:extLst>
          </p:cNvPr>
          <p:cNvCxnSpPr>
            <a:cxnSpLocks/>
          </p:cNvCxnSpPr>
          <p:nvPr/>
        </p:nvCxnSpPr>
        <p:spPr>
          <a:xfrm rot="5400000">
            <a:off x="9434046" y="5443175"/>
            <a:ext cx="1534247" cy="657224"/>
          </a:xfrm>
          <a:prstGeom prst="bentConnector3">
            <a:avLst>
              <a:gd name="adj1" fmla="val 22063"/>
            </a:avLst>
          </a:prstGeom>
          <a:ln w="38100">
            <a:solidFill>
              <a:srgbClr val="0070C0">
                <a:alpha val="70000"/>
              </a:srgb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303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EB714-61CA-EFF9-1BC6-03B4449C1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Data Extraction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CEAFF3-2D8F-3BE2-2C1E-B3738393AB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7FE63C-652A-C72B-4C76-786853D036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7675" y="1089850"/>
            <a:ext cx="5584747" cy="5076000"/>
          </a:xfrm>
        </p:spPr>
        <p:txBody>
          <a:bodyPr/>
          <a:lstStyle/>
          <a:p>
            <a:r>
              <a:rPr lang="en-US" dirty="0"/>
              <a:t>Categorical factor data available in MS SQL Server Database</a:t>
            </a:r>
          </a:p>
          <a:p>
            <a:r>
              <a:rPr lang="en-US" dirty="0"/>
              <a:t>Continuous factor data available in separate MS SQL Server Database</a:t>
            </a:r>
          </a:p>
          <a:p>
            <a:r>
              <a:rPr lang="en-US" dirty="0"/>
              <a:t>Mechanical property and chemistry data available in Oracle Database</a:t>
            </a:r>
          </a:p>
          <a:p>
            <a:endParaRPr lang="en-US" dirty="0"/>
          </a:p>
          <a:p>
            <a:r>
              <a:rPr lang="en-US" dirty="0"/>
              <a:t>SQL queries for each table written</a:t>
            </a:r>
          </a:p>
          <a:p>
            <a:pPr lvl="1"/>
            <a:r>
              <a:rPr lang="en-US" dirty="0"/>
              <a:t>Some cleaning e.g. clustered index concatenation, whitespace trimming</a:t>
            </a:r>
          </a:p>
          <a:p>
            <a:endParaRPr lang="en-US" dirty="0"/>
          </a:p>
          <a:p>
            <a:r>
              <a:rPr lang="en-US" dirty="0"/>
              <a:t>Mechanical and chemistry data pulled from 4 tables and joined in SQL</a:t>
            </a:r>
          </a:p>
          <a:p>
            <a:pPr lvl="1"/>
            <a:r>
              <a:rPr lang="en-US" dirty="0"/>
              <a:t>Includes unions between tables of different structures</a:t>
            </a:r>
          </a:p>
          <a:p>
            <a:pPr lvl="1"/>
            <a:r>
              <a:rPr lang="en-US" dirty="0"/>
              <a:t>Includes aggregation of average chemistry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ave all as local raw backup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EB37851-E026-A439-FA31-07D24E2F4E50}"/>
              </a:ext>
            </a:extLst>
          </p:cNvPr>
          <p:cNvCxnSpPr>
            <a:cxnSpLocks/>
          </p:cNvCxnSpPr>
          <p:nvPr/>
        </p:nvCxnSpPr>
        <p:spPr>
          <a:xfrm>
            <a:off x="7853421" y="2002490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6EBF5BE8-1025-DE14-81DA-D4A03601CDC5}"/>
              </a:ext>
            </a:extLst>
          </p:cNvPr>
          <p:cNvSpPr/>
          <p:nvPr/>
        </p:nvSpPr>
        <p:spPr>
          <a:xfrm>
            <a:off x="10283284" y="1562854"/>
            <a:ext cx="1632194" cy="2157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/>
              <a:t>SQLite</a:t>
            </a:r>
          </a:p>
          <a:p>
            <a:r>
              <a:rPr lang="en-US" sz="1600" dirty="0"/>
              <a:t>– NTM</a:t>
            </a:r>
          </a:p>
          <a:p>
            <a:r>
              <a:rPr lang="en-US" sz="1600" dirty="0"/>
              <a:t>– WB</a:t>
            </a:r>
          </a:p>
          <a:p>
            <a:r>
              <a:rPr lang="en-US" sz="1600" dirty="0"/>
              <a:t>– LH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– Properti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B39E796-5AC1-036C-972E-B93B7C041F71}"/>
              </a:ext>
            </a:extLst>
          </p:cNvPr>
          <p:cNvSpPr/>
          <p:nvPr/>
        </p:nvSpPr>
        <p:spPr>
          <a:xfrm>
            <a:off x="10241166" y="4492954"/>
            <a:ext cx="1632194" cy="9943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/>
              <a:t>SQLite</a:t>
            </a:r>
          </a:p>
          <a:p>
            <a:pPr algn="ctr"/>
            <a:r>
              <a:rPr lang="en-US" sz="1600" dirty="0"/>
              <a:t>– Chemistry &amp; Tensile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A5687A6-D5E3-72D3-28E6-09B7024F148F}"/>
              </a:ext>
            </a:extLst>
          </p:cNvPr>
          <p:cNvCxnSpPr>
            <a:cxnSpLocks/>
          </p:cNvCxnSpPr>
          <p:nvPr/>
        </p:nvCxnSpPr>
        <p:spPr>
          <a:xfrm>
            <a:off x="7853421" y="2250785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3C6995E-6DDC-AA4D-ABAA-062F58662CD5}"/>
              </a:ext>
            </a:extLst>
          </p:cNvPr>
          <p:cNvCxnSpPr>
            <a:cxnSpLocks/>
          </p:cNvCxnSpPr>
          <p:nvPr/>
        </p:nvCxnSpPr>
        <p:spPr>
          <a:xfrm>
            <a:off x="7853421" y="2513432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5AE2EDC-C5F3-E99E-4C35-F7220C7AF618}"/>
              </a:ext>
            </a:extLst>
          </p:cNvPr>
          <p:cNvCxnSpPr>
            <a:cxnSpLocks/>
          </p:cNvCxnSpPr>
          <p:nvPr/>
        </p:nvCxnSpPr>
        <p:spPr>
          <a:xfrm>
            <a:off x="9148340" y="2002490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7EE953C-988D-14A6-5C0F-EC2CCE21587D}"/>
              </a:ext>
            </a:extLst>
          </p:cNvPr>
          <p:cNvCxnSpPr>
            <a:cxnSpLocks/>
          </p:cNvCxnSpPr>
          <p:nvPr/>
        </p:nvCxnSpPr>
        <p:spPr>
          <a:xfrm>
            <a:off x="9148340" y="2250785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0795298-1DDC-A32E-5796-5C21DA286261}"/>
              </a:ext>
            </a:extLst>
          </p:cNvPr>
          <p:cNvCxnSpPr>
            <a:cxnSpLocks/>
          </p:cNvCxnSpPr>
          <p:nvPr/>
        </p:nvCxnSpPr>
        <p:spPr>
          <a:xfrm>
            <a:off x="9148340" y="2513432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B083B8A-8ADF-2236-1EDC-A1034941776C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7861545" y="3414862"/>
            <a:ext cx="1126820" cy="104085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48">
            <a:extLst>
              <a:ext uri="{FF2B5EF4-FFF2-40B4-BE49-F238E27FC236}">
                <a16:creationId xmlns:a16="http://schemas.microsoft.com/office/drawing/2014/main" id="{DC37DBAD-6EDA-DF63-B406-E4D6E1922619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7869669" y="3518947"/>
            <a:ext cx="1118696" cy="173898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D5150120-3E2C-2A77-8363-FC263E43E99F}"/>
              </a:ext>
            </a:extLst>
          </p:cNvPr>
          <p:cNvCxnSpPr>
            <a:cxnSpLocks/>
          </p:cNvCxnSpPr>
          <p:nvPr/>
        </p:nvCxnSpPr>
        <p:spPr>
          <a:xfrm>
            <a:off x="9148340" y="3503193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48">
            <a:extLst>
              <a:ext uri="{FF2B5EF4-FFF2-40B4-BE49-F238E27FC236}">
                <a16:creationId xmlns:a16="http://schemas.microsoft.com/office/drawing/2014/main" id="{F05A55BF-B529-3946-5D9A-45697B9F92E5}"/>
              </a:ext>
            </a:extLst>
          </p:cNvPr>
          <p:cNvCxnSpPr>
            <a:cxnSpLocks/>
          </p:cNvCxnSpPr>
          <p:nvPr/>
        </p:nvCxnSpPr>
        <p:spPr>
          <a:xfrm>
            <a:off x="7877795" y="4796871"/>
            <a:ext cx="1124712" cy="104085"/>
          </a:xfrm>
          <a:prstGeom prst="bentConnector3">
            <a:avLst>
              <a:gd name="adj1" fmla="val 49998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48">
            <a:extLst>
              <a:ext uri="{FF2B5EF4-FFF2-40B4-BE49-F238E27FC236}">
                <a16:creationId xmlns:a16="http://schemas.microsoft.com/office/drawing/2014/main" id="{DEDF0BC6-181E-0D0A-40D0-5C0719D463C0}"/>
              </a:ext>
            </a:extLst>
          </p:cNvPr>
          <p:cNvCxnSpPr>
            <a:cxnSpLocks/>
          </p:cNvCxnSpPr>
          <p:nvPr/>
        </p:nvCxnSpPr>
        <p:spPr>
          <a:xfrm flipV="1">
            <a:off x="7877795" y="4900956"/>
            <a:ext cx="1124712" cy="173898"/>
          </a:xfrm>
          <a:prstGeom prst="bentConnector3">
            <a:avLst>
              <a:gd name="adj1" fmla="val 49722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48">
            <a:extLst>
              <a:ext uri="{FF2B5EF4-FFF2-40B4-BE49-F238E27FC236}">
                <a16:creationId xmlns:a16="http://schemas.microsoft.com/office/drawing/2014/main" id="{6C9942B6-648B-53DB-3320-50B71E7ACE8B}"/>
              </a:ext>
            </a:extLst>
          </p:cNvPr>
          <p:cNvCxnSpPr>
            <a:cxnSpLocks/>
          </p:cNvCxnSpPr>
          <p:nvPr/>
        </p:nvCxnSpPr>
        <p:spPr>
          <a:xfrm>
            <a:off x="7877795" y="4530371"/>
            <a:ext cx="1124712" cy="370585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48">
            <a:extLst>
              <a:ext uri="{FF2B5EF4-FFF2-40B4-BE49-F238E27FC236}">
                <a16:creationId xmlns:a16="http://schemas.microsoft.com/office/drawing/2014/main" id="{E6BBCE12-3115-5F53-A181-976C1757B510}"/>
              </a:ext>
            </a:extLst>
          </p:cNvPr>
          <p:cNvCxnSpPr>
            <a:cxnSpLocks/>
          </p:cNvCxnSpPr>
          <p:nvPr/>
        </p:nvCxnSpPr>
        <p:spPr>
          <a:xfrm flipV="1">
            <a:off x="7877795" y="4900956"/>
            <a:ext cx="1124712" cy="41015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26DF552D-28F2-5FFA-2E9E-059C3DC21121}"/>
              </a:ext>
            </a:extLst>
          </p:cNvPr>
          <p:cNvCxnSpPr>
            <a:cxnSpLocks/>
          </p:cNvCxnSpPr>
          <p:nvPr/>
        </p:nvCxnSpPr>
        <p:spPr>
          <a:xfrm>
            <a:off x="9106222" y="4910957"/>
            <a:ext cx="1134944" cy="0"/>
          </a:xfrm>
          <a:prstGeom prst="straightConnector1">
            <a:avLst/>
          </a:prstGeom>
          <a:ln w="5715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7121BBE2-F95F-8E3D-6783-E36B680C1EB9}"/>
              </a:ext>
            </a:extLst>
          </p:cNvPr>
          <p:cNvSpPr/>
          <p:nvPr/>
        </p:nvSpPr>
        <p:spPr>
          <a:xfrm>
            <a:off x="8988365" y="1562854"/>
            <a:ext cx="828774" cy="391218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err="1"/>
              <a:t>Py</a:t>
            </a:r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3881D56-22A5-5A93-5D10-1DE433176213}"/>
              </a:ext>
            </a:extLst>
          </p:cNvPr>
          <p:cNvSpPr/>
          <p:nvPr/>
        </p:nvSpPr>
        <p:spPr>
          <a:xfrm>
            <a:off x="10279222" y="1103246"/>
            <a:ext cx="1640318" cy="459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Local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5A4323-1B05-1B4F-7AFE-C0A32F4DB9CE}"/>
              </a:ext>
            </a:extLst>
          </p:cNvPr>
          <p:cNvSpPr/>
          <p:nvPr/>
        </p:nvSpPr>
        <p:spPr>
          <a:xfrm>
            <a:off x="6384999" y="2967954"/>
            <a:ext cx="1648445" cy="893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/>
              <a:t>Tracking</a:t>
            </a:r>
          </a:p>
          <a:p>
            <a:pPr algn="r"/>
            <a:r>
              <a:rPr lang="en-US" sz="1600" dirty="0"/>
              <a:t>– Schedule</a:t>
            </a:r>
          </a:p>
          <a:p>
            <a:pPr algn="r"/>
            <a:r>
              <a:rPr lang="en-US" sz="1600" dirty="0"/>
              <a:t>– Co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62B12A-A06D-5CCD-B6E8-70C59428B470}"/>
              </a:ext>
            </a:extLst>
          </p:cNvPr>
          <p:cNvSpPr/>
          <p:nvPr/>
        </p:nvSpPr>
        <p:spPr>
          <a:xfrm>
            <a:off x="6401247" y="4110392"/>
            <a:ext cx="1632194" cy="13564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/>
              <a:t>Oracle</a:t>
            </a:r>
          </a:p>
          <a:p>
            <a:pPr algn="r"/>
            <a:r>
              <a:rPr lang="en-US" sz="1600" dirty="0"/>
              <a:t>– Chem1</a:t>
            </a:r>
          </a:p>
          <a:p>
            <a:pPr algn="r"/>
            <a:r>
              <a:rPr lang="en-US" sz="1600" dirty="0"/>
              <a:t>– Chem2</a:t>
            </a:r>
          </a:p>
          <a:p>
            <a:pPr algn="r"/>
            <a:r>
              <a:rPr lang="en-US" sz="1600" dirty="0"/>
              <a:t>– Mechanical1</a:t>
            </a:r>
          </a:p>
          <a:p>
            <a:pPr algn="r"/>
            <a:r>
              <a:rPr lang="en-US" sz="1600" dirty="0"/>
              <a:t>– Mechanical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237EFD-D66F-292B-731B-2CEE991951B0}"/>
              </a:ext>
            </a:extLst>
          </p:cNvPr>
          <p:cNvSpPr/>
          <p:nvPr/>
        </p:nvSpPr>
        <p:spPr>
          <a:xfrm>
            <a:off x="6385002" y="1562854"/>
            <a:ext cx="1640318" cy="11474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/>
              <a:t>Coil</a:t>
            </a:r>
          </a:p>
          <a:p>
            <a:pPr algn="r"/>
            <a:r>
              <a:rPr lang="en-US" sz="1600" dirty="0"/>
              <a:t>– NTM</a:t>
            </a:r>
          </a:p>
          <a:p>
            <a:pPr algn="r"/>
            <a:r>
              <a:rPr lang="en-US" sz="1600" dirty="0"/>
              <a:t>– WB</a:t>
            </a:r>
          </a:p>
          <a:p>
            <a:pPr algn="r"/>
            <a:r>
              <a:rPr lang="en-US" sz="1600" dirty="0"/>
              <a:t>– LH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27DEF1F-ED1A-1419-6E41-DA214F4FC5C9}"/>
              </a:ext>
            </a:extLst>
          </p:cNvPr>
          <p:cNvSpPr/>
          <p:nvPr/>
        </p:nvSpPr>
        <p:spPr>
          <a:xfrm>
            <a:off x="6385002" y="1092168"/>
            <a:ext cx="1640318" cy="459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Remote</a:t>
            </a:r>
            <a:endParaRPr lang="en-US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934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14BBAC-66AE-6BE0-9F35-160A9F006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Cleaning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46C519-36CE-3904-2B79-81FAC3F883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79936C-7156-F665-3276-58AAE0730C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emoval of sensor artifacts (too small time periods)</a:t>
            </a:r>
          </a:p>
          <a:p>
            <a:r>
              <a:rPr lang="en-US" dirty="0"/>
              <a:t>Removal of duplicates</a:t>
            </a:r>
          </a:p>
          <a:p>
            <a:pPr lvl="1"/>
            <a:r>
              <a:rPr lang="en-US" dirty="0"/>
              <a:t>Index repeated due to recoding system error</a:t>
            </a:r>
          </a:p>
          <a:p>
            <a:r>
              <a:rPr lang="en-US" dirty="0"/>
              <a:t>Removal of null values</a:t>
            </a:r>
          </a:p>
          <a:p>
            <a:r>
              <a:rPr lang="en-US" dirty="0"/>
              <a:t>Removal of </a:t>
            </a:r>
            <a:r>
              <a:rPr lang="en-US" dirty="0" err="1"/>
              <a:t>waterbox</a:t>
            </a:r>
            <a:r>
              <a:rPr lang="en-US" dirty="0"/>
              <a:t> data when inactive</a:t>
            </a:r>
          </a:p>
          <a:p>
            <a:pPr lvl="1"/>
            <a:r>
              <a:rPr lang="en-US" dirty="0"/>
              <a:t>Sensor records characteristics, but doesn’t affect product</a:t>
            </a:r>
          </a:p>
          <a:p>
            <a:r>
              <a:rPr lang="en-US" dirty="0"/>
              <a:t>Removal of non-physically capable sensor reading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742281-5018-CD01-C2CA-042B20B0C2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3795" y="1089850"/>
            <a:ext cx="5648325" cy="43338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7E265D9-02FC-95D9-FBC0-0600BF7C1AA1}"/>
              </a:ext>
            </a:extLst>
          </p:cNvPr>
          <p:cNvSpPr/>
          <p:nvPr/>
        </p:nvSpPr>
        <p:spPr>
          <a:xfrm>
            <a:off x="7779606" y="1434275"/>
            <a:ext cx="1508166" cy="3470276"/>
          </a:xfrm>
          <a:prstGeom prst="rect">
            <a:avLst/>
          </a:prstGeom>
          <a:noFill/>
          <a:ln w="28575"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873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CA7C5-7055-32C0-9AC1-84CBB2CA0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Exploration – Records, Distribution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D3568-8A14-43B9-620F-226BD8B563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A39CEC-F2EC-C577-1A32-6CAB486B7A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umber of records by rod diameter</a:t>
            </a:r>
          </a:p>
          <a:p>
            <a:pPr lvl="1"/>
            <a:r>
              <a:rPr lang="en-US" dirty="0"/>
              <a:t>Classify different </a:t>
            </a:r>
            <a:r>
              <a:rPr lang="en-US" dirty="0" err="1"/>
              <a:t>waterbox</a:t>
            </a:r>
            <a:r>
              <a:rPr lang="en-US" dirty="0"/>
              <a:t> schemes based on combination of utilization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144000" lvl="1" indent="0">
              <a:buNone/>
            </a:pPr>
            <a:endParaRPr lang="en-US" dirty="0"/>
          </a:p>
          <a:p>
            <a:pPr marL="144000" lvl="1" indent="0">
              <a:buNone/>
            </a:pPr>
            <a:endParaRPr lang="en-US" dirty="0"/>
          </a:p>
          <a:p>
            <a:r>
              <a:rPr lang="en-US" dirty="0"/>
              <a:t>Distributions of factors, finding outliers and investigating for disposi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89157F-0CD8-4FB3-9EE4-BDAB9526C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784" y="1658956"/>
            <a:ext cx="7170128" cy="22509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E212E5-BAE5-203B-8538-65C4B0F31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84" y="4209220"/>
            <a:ext cx="7305808" cy="232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369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135E7-4123-A126-B3D6-040D3725E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Exploration – Correlations, Pair Plots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548E34-AC2A-358F-A5EB-8F44718E02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55065B-F964-5106-3528-F4C2A72DB8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itial correlation, mostly correlated within a </a:t>
            </a:r>
            <a:r>
              <a:rPr lang="en-US" dirty="0" err="1"/>
              <a:t>waterbox</a:t>
            </a:r>
            <a:endParaRPr lang="en-US" dirty="0"/>
          </a:p>
          <a:p>
            <a:r>
              <a:rPr lang="en-US" dirty="0"/>
              <a:t>Pair plots for closer insp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322717-B154-2E0D-E2D3-F831A3BAE7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821" y="1651196"/>
            <a:ext cx="4204297" cy="43994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D77E42-A33D-7276-395E-CD4AFDD8F7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6821" y="1651196"/>
            <a:ext cx="4868707" cy="4310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89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CE0E2D-1266-399A-A83C-95E40EAC4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Factor Reduction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29D6A1-9C88-CDB5-DDE8-F296F8694E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20ADBC-25B2-A702-44C3-03B5D7B1A6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nual box removal based on little data available</a:t>
            </a:r>
          </a:p>
          <a:p>
            <a:r>
              <a:rPr lang="en-US" dirty="0"/>
              <a:t>Manual reduction on number of factors</a:t>
            </a:r>
          </a:p>
          <a:p>
            <a:pPr lvl="1"/>
            <a:r>
              <a:rPr lang="en-US" dirty="0"/>
              <a:t>Standard deviations and slopes of raw data trace</a:t>
            </a:r>
          </a:p>
          <a:p>
            <a:r>
              <a:rPr lang="en-US" dirty="0"/>
              <a:t> Manual limiting to only sizes with similar processing conditions</a:t>
            </a:r>
          </a:p>
          <a:p>
            <a:r>
              <a:rPr lang="en-US" dirty="0"/>
              <a:t>ML feature reduction</a:t>
            </a:r>
          </a:p>
          <a:p>
            <a:pPr lvl="1"/>
            <a:r>
              <a:rPr lang="en-US" dirty="0"/>
              <a:t>Review via F-test and Mutual information for factor dependencies</a:t>
            </a:r>
          </a:p>
          <a:p>
            <a:pPr lvl="1"/>
            <a:r>
              <a:rPr lang="en-US" dirty="0"/>
              <a:t>Highlighted steps which need to be addressed later (such as extra linear factor)</a:t>
            </a:r>
          </a:p>
          <a:p>
            <a:pPr lvl="1"/>
            <a:r>
              <a:rPr lang="en-US" dirty="0"/>
              <a:t>Conflicting order, decided to keep all factors left from manual determination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199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B1E28-AD73-60B4-0FCA-CA881A913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483065"/>
            <a:ext cx="9763125" cy="294953"/>
          </a:xfrm>
        </p:spPr>
        <p:txBody>
          <a:bodyPr/>
          <a:lstStyle/>
          <a:p>
            <a:pPr rtl="0" eaLnBrk="1" latinLnBrk="0" hangingPunct="1"/>
            <a:r>
              <a:rPr lang="en-US" sz="2200" b="1" kern="1200" dirty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rPr>
              <a:t>Model Development – Linear Regression</a:t>
            </a:r>
            <a:endParaRPr lang="en-US" dirty="0"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FFA54D-78E5-DDF3-27EC-B8D536AF0D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C9F013-7D23-4069-32C4-95217DFD00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bjective: Develop model to represent final temperature from selected factors</a:t>
            </a:r>
          </a:p>
          <a:p>
            <a:r>
              <a:rPr lang="en-US" dirty="0"/>
              <a:t>Select train and test data sets</a:t>
            </a:r>
          </a:p>
          <a:p>
            <a:pPr lvl="1"/>
            <a:r>
              <a:rPr lang="en-US" dirty="0"/>
              <a:t>31.5K training records, 13.5K testing records (include 3 different sizes)</a:t>
            </a:r>
          </a:p>
          <a:p>
            <a:r>
              <a:rPr lang="en-US" dirty="0"/>
              <a:t>Wrote a wrapper function to explore different models and conditions</a:t>
            </a:r>
          </a:p>
          <a:p>
            <a:pPr lvl="1"/>
            <a:r>
              <a:rPr lang="en-US" dirty="0"/>
              <a:t>Calculates model training and testing score</a:t>
            </a:r>
          </a:p>
          <a:p>
            <a:pPr lvl="1"/>
            <a:r>
              <a:rPr lang="en-US" dirty="0"/>
              <a:t>Calculates mean absolute error, mean square error and root mean square error</a:t>
            </a:r>
          </a:p>
          <a:p>
            <a:pPr lvl="1"/>
            <a:r>
              <a:rPr lang="en-US" dirty="0"/>
              <a:t>Calculate VIF for linear regression models</a:t>
            </a:r>
          </a:p>
          <a:p>
            <a:pPr lvl="1"/>
            <a:r>
              <a:rPr lang="en-US" dirty="0"/>
              <a:t>Generates residuals plot which highlights the three sizes</a:t>
            </a:r>
          </a:p>
          <a:p>
            <a:pPr lvl="1"/>
            <a:r>
              <a:rPr lang="en-US" dirty="0"/>
              <a:t>Output as dictionary for use in master “results” table</a:t>
            </a:r>
          </a:p>
          <a:p>
            <a:r>
              <a:rPr lang="en-US" dirty="0"/>
              <a:t>Comparison of Linear regression to Ridge Regression</a:t>
            </a:r>
          </a:p>
          <a:p>
            <a:pPr lvl="1"/>
            <a:r>
              <a:rPr lang="en-US" dirty="0"/>
              <a:t>Nearly identical performance</a:t>
            </a:r>
          </a:p>
          <a:p>
            <a:r>
              <a:rPr lang="en-US" dirty="0"/>
              <a:t>Compared “all factors” to models with fewer factors</a:t>
            </a:r>
          </a:p>
          <a:p>
            <a:pPr lvl="1"/>
            <a:r>
              <a:rPr lang="en-US" dirty="0"/>
              <a:t>Remove total water used</a:t>
            </a:r>
          </a:p>
          <a:p>
            <a:pPr lvl="1"/>
            <a:r>
              <a:rPr lang="en-US" dirty="0"/>
              <a:t>Remove total, valve position (non-linear factor)</a:t>
            </a:r>
          </a:p>
          <a:p>
            <a:pPr lvl="1"/>
            <a:r>
              <a:rPr lang="en-US" dirty="0"/>
              <a:t>Remove total, valve position and pressure</a:t>
            </a:r>
          </a:p>
          <a:p>
            <a:r>
              <a:rPr lang="en-US" dirty="0"/>
              <a:t>No difference of models when total water removed</a:t>
            </a:r>
          </a:p>
          <a:p>
            <a:r>
              <a:rPr lang="en-US" dirty="0"/>
              <a:t>Coefficient of determination decreased with additional factors removed</a:t>
            </a:r>
          </a:p>
          <a:p>
            <a:r>
              <a:rPr lang="en-US" dirty="0"/>
              <a:t>Identified control schemes which should not be pursued further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A6197A-E668-1653-311D-55AC4DD27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900" y="1184950"/>
            <a:ext cx="3781425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353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Другая 42">
      <a:dk1>
        <a:srgbClr val="000000"/>
      </a:dk1>
      <a:lt1>
        <a:srgbClr val="FFFFFF"/>
      </a:lt1>
      <a:dk2>
        <a:srgbClr val="414F4F"/>
      </a:dk2>
      <a:lt2>
        <a:srgbClr val="722082"/>
      </a:lt2>
      <a:accent1>
        <a:srgbClr val="FAB82E"/>
      </a:accent1>
      <a:accent2>
        <a:srgbClr val="ED7817"/>
      </a:accent2>
      <a:accent3>
        <a:srgbClr val="B0B1B2"/>
      </a:accent3>
      <a:accent4>
        <a:srgbClr val="E32112"/>
      </a:accent4>
      <a:accent5>
        <a:srgbClr val="5A004B"/>
      </a:accent5>
      <a:accent6>
        <a:srgbClr val="A2165B"/>
      </a:accent6>
      <a:hlink>
        <a:srgbClr val="ED7817"/>
      </a:hlink>
      <a:folHlink>
        <a:srgbClr val="E32112"/>
      </a:folHlink>
    </a:clrScheme>
    <a:fontScheme name="Custom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0" sz="1200" b="0" i="0" u="none" strike="noStrike" kern="1200" cap="none" spc="0" normalizeH="0" baseline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54</TotalTime>
  <Words>755</Words>
  <Application>Microsoft Office PowerPoint</Application>
  <PresentationFormat>Widescreen</PresentationFormat>
  <Paragraphs>16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 Theme</vt:lpstr>
      <vt:lpstr>Слайд think-cell</vt:lpstr>
      <vt:lpstr>Standardization of Waterbox Utilization</vt:lpstr>
      <vt:lpstr>Agenda</vt:lpstr>
      <vt:lpstr>Introduction</vt:lpstr>
      <vt:lpstr>Data Extraction</vt:lpstr>
      <vt:lpstr>Cleaning</vt:lpstr>
      <vt:lpstr>Exploration – Records, Distributions</vt:lpstr>
      <vt:lpstr>Exploration – Correlations, Pair Plots</vt:lpstr>
      <vt:lpstr>Factor Reduction</vt:lpstr>
      <vt:lpstr>Model Development – Linear Regression</vt:lpstr>
      <vt:lpstr>Model Development - Support Vector Regression</vt:lpstr>
      <vt:lpstr>Determination of Optimal settings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Stepanova</dc:creator>
  <cp:lastModifiedBy>Bryce Lakamp</cp:lastModifiedBy>
  <cp:revision>886</cp:revision>
  <dcterms:created xsi:type="dcterms:W3CDTF">2020-03-26T13:24:34Z</dcterms:created>
  <dcterms:modified xsi:type="dcterms:W3CDTF">2023-03-01T00:57:32Z</dcterms:modified>
</cp:coreProperties>
</file>